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8" r:id="rId3"/>
    <p:sldId id="258" r:id="rId4"/>
    <p:sldId id="279" r:id="rId5"/>
    <p:sldId id="271" r:id="rId6"/>
    <p:sldId id="280" r:id="rId7"/>
    <p:sldId id="272" r:id="rId8"/>
    <p:sldId id="281" r:id="rId9"/>
    <p:sldId id="273" r:id="rId10"/>
    <p:sldId id="282" r:id="rId11"/>
    <p:sldId id="274" r:id="rId12"/>
    <p:sldId id="283" r:id="rId13"/>
    <p:sldId id="275" r:id="rId14"/>
    <p:sldId id="284" r:id="rId15"/>
    <p:sldId id="276" r:id="rId16"/>
    <p:sldId id="285" r:id="rId17"/>
    <p:sldId id="277" r:id="rId18"/>
    <p:sldId id="286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C1A"/>
    <a:srgbClr val="D24F08"/>
    <a:srgbClr val="C96807"/>
    <a:srgbClr val="F1DECB"/>
    <a:srgbClr val="1C0F33"/>
    <a:srgbClr val="311A5A"/>
    <a:srgbClr val="3D2070"/>
    <a:srgbClr val="514A88"/>
    <a:srgbClr val="A0F2FE"/>
    <a:srgbClr val="2F02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40" autoAdjust="0"/>
    <p:restoredTop sz="96182" autoAdjust="0"/>
  </p:normalViewPr>
  <p:slideViewPr>
    <p:cSldViewPr snapToGrid="0">
      <p:cViewPr varScale="1">
        <p:scale>
          <a:sx n="87" d="100"/>
          <a:sy n="87" d="100"/>
        </p:scale>
        <p:origin x="84" y="4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6/11/relationships/changesInfo" Target="changesInfos/changesInfo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 userDrawn="1"/>
        </p:nvGrpSpPr>
        <p:grpSpPr>
          <a:xfrm>
            <a:off x="-36565" y="-23869"/>
            <a:ext cx="12265130" cy="6905739"/>
            <a:chOff x="-51158" y="-410623"/>
            <a:chExt cx="12265130" cy="6905739"/>
          </a:xfrm>
        </p:grpSpPr>
        <p:sp>
          <p:nvSpPr>
            <p:cNvPr id="8" name="矩形 7"/>
            <p:cNvSpPr/>
            <p:nvPr userDrawn="1"/>
          </p:nvSpPr>
          <p:spPr>
            <a:xfrm>
              <a:off x="-34105" y="-410623"/>
              <a:ext cx="12231025" cy="6905739"/>
            </a:xfrm>
            <a:prstGeom prst="rect">
              <a:avLst/>
            </a:prstGeom>
            <a:blipFill>
              <a:blip r:embed="rId2"/>
              <a:srcRect/>
              <a:stretch>
                <a:fillRect t="-13833" b="-13833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3" name="矩形 612"/>
            <p:cNvSpPr/>
            <p:nvPr userDrawn="1"/>
          </p:nvSpPr>
          <p:spPr>
            <a:xfrm>
              <a:off x="-51158" y="-410623"/>
              <a:ext cx="12265130" cy="6905739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81000">
                  <a:srgbClr val="1FAEAC">
                    <a:alpha val="33000"/>
                  </a:srgbClr>
                </a:gs>
                <a:gs pos="100000">
                  <a:schemeClr val="accent1"/>
                </a:gs>
                <a:gs pos="28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802" name="标题 9801"/>
          <p:cNvSpPr>
            <a:spLocks noGrp="1"/>
          </p:cNvSpPr>
          <p:nvPr>
            <p:ph type="ctrTitle" hasCustomPrompt="1"/>
          </p:nvPr>
        </p:nvSpPr>
        <p:spPr>
          <a:xfrm>
            <a:off x="5645726" y="2245307"/>
            <a:ext cx="5873174" cy="1759592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5645726" y="5147113"/>
            <a:ext cx="587317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 hasCustomPrompt="1"/>
          </p:nvPr>
        </p:nvSpPr>
        <p:spPr>
          <a:xfrm>
            <a:off x="5645726" y="5443384"/>
            <a:ext cx="5873174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2" hasCustomPrompt="1"/>
          </p:nvPr>
        </p:nvSpPr>
        <p:spPr>
          <a:xfrm>
            <a:off x="5645727" y="4004898"/>
            <a:ext cx="5873174" cy="459946"/>
          </a:xfrm>
          <a:prstGeom prst="rect">
            <a:avLst/>
          </a:prstGeom>
          <a:noFill/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04958" y="2972441"/>
            <a:ext cx="4765674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17" name="矩形 516"/>
          <p:cNvSpPr>
            <a:spLocks/>
          </p:cNvSpPr>
          <p:nvPr userDrawn="1"/>
        </p:nvSpPr>
        <p:spPr>
          <a:xfrm>
            <a:off x="-73130" y="-35804"/>
            <a:ext cx="4645131" cy="6905739"/>
          </a:xfrm>
          <a:prstGeom prst="rect">
            <a:avLst/>
          </a:prstGeom>
          <a:blipFill>
            <a:blip r:embed="rId2"/>
            <a:srcRect/>
            <a:stretch>
              <a:fillRect l="-2324" t="-8116" r="-157746" b="-1798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18" name="矩形 517"/>
          <p:cNvSpPr>
            <a:spLocks/>
          </p:cNvSpPr>
          <p:nvPr userDrawn="1"/>
        </p:nvSpPr>
        <p:spPr>
          <a:xfrm>
            <a:off x="-73130" y="-35804"/>
            <a:ext cx="4645131" cy="6905739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81000">
                <a:srgbClr val="1FAEAC">
                  <a:alpha val="33000"/>
                </a:srgbClr>
              </a:gs>
              <a:gs pos="100000">
                <a:schemeClr val="accent1"/>
              </a:gs>
              <a:gs pos="28000">
                <a:schemeClr val="accent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4" name="组合 453"/>
          <p:cNvGrpSpPr/>
          <p:nvPr userDrawn="1"/>
        </p:nvGrpSpPr>
        <p:grpSpPr>
          <a:xfrm flipH="1">
            <a:off x="-36565" y="-23869"/>
            <a:ext cx="12265130" cy="6905739"/>
            <a:chOff x="-51158" y="-410623"/>
            <a:chExt cx="12265130" cy="6905739"/>
          </a:xfrm>
        </p:grpSpPr>
        <p:sp>
          <p:nvSpPr>
            <p:cNvPr id="455" name="矩形 454"/>
            <p:cNvSpPr/>
            <p:nvPr userDrawn="1"/>
          </p:nvSpPr>
          <p:spPr>
            <a:xfrm>
              <a:off x="-34105" y="-410623"/>
              <a:ext cx="12231025" cy="6905739"/>
            </a:xfrm>
            <a:prstGeom prst="rect">
              <a:avLst/>
            </a:prstGeom>
            <a:blipFill>
              <a:blip r:embed="rId2"/>
              <a:srcRect/>
              <a:stretch>
                <a:fillRect t="-13833" b="-13833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56" name="矩形 455"/>
            <p:cNvSpPr/>
            <p:nvPr userDrawn="1"/>
          </p:nvSpPr>
          <p:spPr>
            <a:xfrm flipH="1">
              <a:off x="-51158" y="-410623"/>
              <a:ext cx="12265130" cy="6905739"/>
            </a:xfrm>
            <a:prstGeom prst="rect">
              <a:avLst/>
            </a:prstGeom>
            <a:gradFill flip="none" rotWithShape="1">
              <a:gsLst>
                <a:gs pos="0">
                  <a:schemeClr val="accent2"/>
                </a:gs>
                <a:gs pos="62000">
                  <a:srgbClr val="1FAEAC">
                    <a:alpha val="33000"/>
                  </a:srgbClr>
                </a:gs>
                <a:gs pos="78000">
                  <a:srgbClr val="10BD9E"/>
                </a:gs>
                <a:gs pos="100000">
                  <a:schemeClr val="accent1"/>
                </a:gs>
                <a:gs pos="33000">
                  <a:schemeClr val="accent2"/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257300"/>
            <a:ext cx="5167086" cy="103572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267294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2376678"/>
            <a:ext cx="516708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6600" dirty="0">
                <a:latin typeface="+mn-lt"/>
                <a:ea typeface="+mn-ea"/>
                <a:cs typeface="+mn-ea"/>
                <a:sym typeface="+mn-lt"/>
              </a:rPr>
              <a:t>诊疗方案</a:t>
            </a:r>
            <a:br>
              <a:rPr lang="en-US" altLang="zh-CN" sz="66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600" b="0" dirty="0">
                <a:latin typeface="+mn-lt"/>
                <a:ea typeface="+mn-ea"/>
                <a:cs typeface="+mn-ea"/>
                <a:sym typeface="+mn-lt"/>
              </a:rPr>
              <a:t>新型冠状病毒感染病例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669924" y="3041780"/>
            <a:ext cx="4035426" cy="2787520"/>
            <a:chOff x="669924" y="3240316"/>
            <a:chExt cx="3506789" cy="2588984"/>
          </a:xfrm>
        </p:grpSpPr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1DB1E64E-3902-440E-B2F4-20BCBBF39535}"/>
                </a:ext>
              </a:extLst>
            </p:cNvPr>
            <p:cNvSpPr txBox="1"/>
            <p:nvPr/>
          </p:nvSpPr>
          <p:spPr>
            <a:xfrm>
              <a:off x="669925" y="3240316"/>
              <a:ext cx="3506788" cy="1057724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endParaRPr lang="zh-CN" altLang="en-US" spc="1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EE8A29D-A98E-42FD-90D5-F2A9DAE759D7}"/>
                </a:ext>
              </a:extLst>
            </p:cNvPr>
            <p:cNvSpPr txBox="1"/>
            <p:nvPr/>
          </p:nvSpPr>
          <p:spPr>
            <a:xfrm>
              <a:off x="669924" y="4613732"/>
              <a:ext cx="3506788" cy="1057724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b="1" spc="100" dirty="0">
                  <a:solidFill>
                    <a:schemeClr val="bg1"/>
                  </a:solidFill>
                  <a:cs typeface="+mn-ea"/>
                  <a:sym typeface="+mn-lt"/>
                </a:rPr>
                <a:t>中国加油</a:t>
              </a:r>
            </a:p>
          </p:txBody>
        </p: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78D01D7C-A0BD-4653-9952-F7279F2347D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4455886"/>
              <a:ext cx="3506788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接连接符 23">
              <a:extLst>
                <a:ext uri="{FF2B5EF4-FFF2-40B4-BE49-F238E27FC236}">
                  <a16:creationId xmlns:a16="http://schemas.microsoft.com/office/drawing/2014/main" id="{715698E6-F123-42F4-8126-736CC93D4F9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9925" y="5829300"/>
              <a:ext cx="3506788" cy="0"/>
            </a:xfrm>
            <a:prstGeom prst="line">
              <a:avLst/>
            </a:prstGeom>
            <a:ln w="25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EE8A29D-A98E-42FD-90D5-F2A9DAE759D7}"/>
                </a:ext>
              </a:extLst>
            </p:cNvPr>
            <p:cNvSpPr txBox="1"/>
            <p:nvPr/>
          </p:nvSpPr>
          <p:spPr>
            <a:xfrm>
              <a:off x="669924" y="3279482"/>
              <a:ext cx="3506788" cy="1057724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b="1" spc="100" dirty="0">
                  <a:solidFill>
                    <a:schemeClr val="bg1"/>
                  </a:solidFill>
                  <a:cs typeface="+mn-ea"/>
                  <a:sym typeface="+mn-lt"/>
                </a:rPr>
                <a:t>武汉加油</a:t>
              </a: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D59F8546-DEF3-4584-A574-94F913BDC7DC}"/>
              </a:ext>
            </a:extLst>
          </p:cNvPr>
          <p:cNvGrpSpPr/>
          <p:nvPr/>
        </p:nvGrpSpPr>
        <p:grpSpPr>
          <a:xfrm>
            <a:off x="9230124" y="782790"/>
            <a:ext cx="2288776" cy="717106"/>
            <a:chOff x="5123032" y="2373367"/>
            <a:chExt cx="2801768" cy="877833"/>
          </a:xfrm>
        </p:grpSpPr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2A94E9A-96BA-423A-8B12-0CF76B3B97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DBAF8B5A-C3A3-4BCF-87D8-6DF3091BD3C4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zh-CN" altLang="en-US" spc="100" dirty="0">
                  <a:solidFill>
                    <a:schemeClr val="bg1"/>
                  </a:solidFill>
                  <a:cs typeface="+mn-ea"/>
                  <a:sym typeface="+mn-lt"/>
                </a:rPr>
                <a:t>抗击疫情专题</a:t>
              </a: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782DBED-3DA8-4B07-804D-CF67696D38A1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例的发现与报告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9" name="任意多边形: 形状 28"/>
          <p:cNvSpPr/>
          <p:nvPr/>
        </p:nvSpPr>
        <p:spPr>
          <a:xfrm>
            <a:off x="2891051" y="4767831"/>
            <a:ext cx="1351984" cy="421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7246" extrusionOk="0">
                <a:moveTo>
                  <a:pt x="0" y="949"/>
                </a:moveTo>
                <a:lnTo>
                  <a:pt x="652" y="0"/>
                </a:lnTo>
                <a:cubicBezTo>
                  <a:pt x="3871" y="14536"/>
                  <a:pt x="11077" y="19627"/>
                  <a:pt x="16746" y="11373"/>
                </a:cubicBezTo>
                <a:cubicBezTo>
                  <a:pt x="18232" y="9210"/>
                  <a:pt x="19516" y="6246"/>
                  <a:pt x="20511" y="2686"/>
                </a:cubicBezTo>
                <a:lnTo>
                  <a:pt x="20078" y="2056"/>
                </a:lnTo>
                <a:lnTo>
                  <a:pt x="21508" y="475"/>
                </a:lnTo>
                <a:lnTo>
                  <a:pt x="21600" y="4271"/>
                </a:lnTo>
                <a:lnTo>
                  <a:pt x="21167" y="3640"/>
                </a:lnTo>
                <a:cubicBezTo>
                  <a:pt x="17163" y="18155"/>
                  <a:pt x="9329" y="21600"/>
                  <a:pt x="3668" y="11335"/>
                </a:cubicBezTo>
                <a:cubicBezTo>
                  <a:pt x="2163" y="8605"/>
                  <a:pt x="910" y="5060"/>
                  <a:pt x="0" y="94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  <a:miter lim="400000"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00000"/>
              </a:lnSpc>
              <a:defRPr sz="3200" b="0" spc="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C2A1FFF0-88F0-453B-9DA4-2A2DB9A743F5}"/>
              </a:ext>
            </a:extLst>
          </p:cNvPr>
          <p:cNvSpPr/>
          <p:nvPr/>
        </p:nvSpPr>
        <p:spPr bwMode="auto">
          <a:xfrm>
            <a:off x="1976518" y="5188830"/>
            <a:ext cx="3181051" cy="732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cs typeface="+mn-ea"/>
                <a:sym typeface="+mn-lt"/>
              </a:rPr>
              <a:t>Copy pas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e </a:t>
            </a:r>
            <a:r>
              <a:rPr lang="en-US" altLang="zh-CN" sz="1200" dirty="0">
                <a:cs typeface="+mn-ea"/>
                <a:sym typeface="+mn-lt"/>
              </a:rPr>
              <a:t>fonts. Choose the only option to retain text……</a:t>
            </a:r>
          </a:p>
        </p:txBody>
      </p:sp>
      <p:sp>
        <p:nvSpPr>
          <p:cNvPr id="27" name="任意多边形: 形状 26"/>
          <p:cNvSpPr/>
          <p:nvPr/>
        </p:nvSpPr>
        <p:spPr>
          <a:xfrm>
            <a:off x="5420007" y="2088271"/>
            <a:ext cx="1351984" cy="421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7050" extrusionOk="0">
                <a:moveTo>
                  <a:pt x="0" y="16210"/>
                </a:moveTo>
                <a:cubicBezTo>
                  <a:pt x="3419" y="835"/>
                  <a:pt x="11072" y="-4550"/>
                  <a:pt x="17092" y="4181"/>
                </a:cubicBezTo>
                <a:cubicBezTo>
                  <a:pt x="18733" y="6560"/>
                  <a:pt x="20142" y="9855"/>
                  <a:pt x="21215" y="13819"/>
                </a:cubicBezTo>
                <a:lnTo>
                  <a:pt x="21600" y="13261"/>
                </a:lnTo>
                <a:lnTo>
                  <a:pt x="21513" y="16630"/>
                </a:lnTo>
                <a:lnTo>
                  <a:pt x="20248" y="15221"/>
                </a:lnTo>
                <a:lnTo>
                  <a:pt x="20633" y="14663"/>
                </a:lnTo>
                <a:cubicBezTo>
                  <a:pt x="16879" y="938"/>
                  <a:pt x="9479" y="-2418"/>
                  <a:pt x="4105" y="7168"/>
                </a:cubicBezTo>
                <a:cubicBezTo>
                  <a:pt x="2656" y="9751"/>
                  <a:pt x="1452" y="13127"/>
                  <a:pt x="579" y="1705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  <a:miter lim="400000"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00000"/>
              </a:lnSpc>
              <a:defRPr sz="3200" b="0" spc="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C2A1FFF0-88F0-453B-9DA4-2A2DB9A743F5}"/>
              </a:ext>
            </a:extLst>
          </p:cNvPr>
          <p:cNvSpPr/>
          <p:nvPr/>
        </p:nvSpPr>
        <p:spPr bwMode="auto">
          <a:xfrm>
            <a:off x="4505474" y="1355902"/>
            <a:ext cx="3181051" cy="732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cs typeface="+mn-ea"/>
                <a:sym typeface="+mn-lt"/>
              </a:rPr>
              <a:t>Copy pas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e </a:t>
            </a:r>
            <a:r>
              <a:rPr lang="en-US" altLang="zh-CN" sz="1200" dirty="0">
                <a:cs typeface="+mn-ea"/>
                <a:sym typeface="+mn-lt"/>
              </a:rPr>
              <a:t>fonts. Choose the only option to retain text……</a:t>
            </a:r>
          </a:p>
        </p:txBody>
      </p:sp>
      <p:sp>
        <p:nvSpPr>
          <p:cNvPr id="25" name="任意多边形: 形状 24"/>
          <p:cNvSpPr/>
          <p:nvPr/>
        </p:nvSpPr>
        <p:spPr>
          <a:xfrm>
            <a:off x="7948965" y="4767831"/>
            <a:ext cx="1351984" cy="4210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17246" extrusionOk="0">
                <a:moveTo>
                  <a:pt x="0" y="949"/>
                </a:moveTo>
                <a:lnTo>
                  <a:pt x="652" y="0"/>
                </a:lnTo>
                <a:cubicBezTo>
                  <a:pt x="3871" y="14536"/>
                  <a:pt x="11077" y="19627"/>
                  <a:pt x="16746" y="11373"/>
                </a:cubicBezTo>
                <a:cubicBezTo>
                  <a:pt x="18232" y="9210"/>
                  <a:pt x="19516" y="6246"/>
                  <a:pt x="20511" y="2686"/>
                </a:cubicBezTo>
                <a:lnTo>
                  <a:pt x="20078" y="2056"/>
                </a:lnTo>
                <a:lnTo>
                  <a:pt x="21508" y="475"/>
                </a:lnTo>
                <a:lnTo>
                  <a:pt x="21600" y="4271"/>
                </a:lnTo>
                <a:lnTo>
                  <a:pt x="21167" y="3640"/>
                </a:lnTo>
                <a:cubicBezTo>
                  <a:pt x="17163" y="18155"/>
                  <a:pt x="9329" y="21600"/>
                  <a:pt x="3668" y="11335"/>
                </a:cubicBezTo>
                <a:cubicBezTo>
                  <a:pt x="2163" y="8605"/>
                  <a:pt x="910" y="5060"/>
                  <a:pt x="0" y="94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  <a:miter lim="400000"/>
          </a:ln>
        </p:spPr>
        <p:txBody>
          <a:bodyPr wrap="square" lIns="91440" tIns="45720" rIns="91440" bIns="45720">
            <a:normAutofit fontScale="8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00000"/>
              </a:lnSpc>
              <a:defRPr sz="3200" b="0" spc="0">
                <a:solidFill>
                  <a:srgbClr val="FFFFFF"/>
                </a:solidFill>
              </a:defRPr>
            </a:pPr>
            <a:endParaRPr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C2A1FFF0-88F0-453B-9DA4-2A2DB9A743F5}"/>
              </a:ext>
            </a:extLst>
          </p:cNvPr>
          <p:cNvSpPr/>
          <p:nvPr/>
        </p:nvSpPr>
        <p:spPr bwMode="auto">
          <a:xfrm>
            <a:off x="7034432" y="5188830"/>
            <a:ext cx="3181051" cy="732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>
                <a:cs typeface="+mn-ea"/>
                <a:sym typeface="+mn-lt"/>
              </a:rPr>
              <a:t>Copy pas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e </a:t>
            </a:r>
            <a:r>
              <a:rPr lang="en-US" altLang="zh-CN" sz="1200" dirty="0">
                <a:cs typeface="+mn-ea"/>
                <a:sym typeface="+mn-lt"/>
              </a:rPr>
              <a:t>fonts. Choose the only option to retain text……</a:t>
            </a:r>
          </a:p>
        </p:txBody>
      </p:sp>
      <p:sp>
        <p:nvSpPr>
          <p:cNvPr id="22" name="矩形: 圆角 21"/>
          <p:cNvSpPr/>
          <p:nvPr/>
        </p:nvSpPr>
        <p:spPr>
          <a:xfrm>
            <a:off x="1208497" y="2785569"/>
            <a:ext cx="1705964" cy="1705964"/>
          </a:xfrm>
          <a:prstGeom prst="roundRect">
            <a:avLst>
              <a:gd name="adj" fmla="val 6535"/>
            </a:avLst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3" name="矩形: 圆角 22"/>
          <p:cNvSpPr/>
          <p:nvPr/>
        </p:nvSpPr>
        <p:spPr>
          <a:xfrm>
            <a:off x="1951721" y="4215235"/>
            <a:ext cx="1444911" cy="552596"/>
          </a:xfrm>
          <a:prstGeom prst="roundRect">
            <a:avLst>
              <a:gd name="adj" fmla="val 6535"/>
            </a:avLst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sz="2000" b="1" i="1">
                <a:cs typeface="+mn-ea"/>
                <a:sym typeface="+mn-lt"/>
              </a:rPr>
              <a:t>T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sz="2000" b="1" i="1">
                <a:cs typeface="+mn-ea"/>
                <a:sym typeface="+mn-lt"/>
              </a:rPr>
              <a:t>ext</a:t>
            </a:r>
            <a:endParaRPr lang="en-US" altLang="zh-CN" sz="2000" b="1" i="1" dirty="0">
              <a:cs typeface="+mn-ea"/>
              <a:sym typeface="+mn-lt"/>
            </a:endParaRPr>
          </a:p>
        </p:txBody>
      </p:sp>
      <p:sp>
        <p:nvSpPr>
          <p:cNvPr id="24" name="任意多边形: 形状 23"/>
          <p:cNvSpPr/>
          <p:nvPr/>
        </p:nvSpPr>
        <p:spPr>
          <a:xfrm>
            <a:off x="1777192" y="3386917"/>
            <a:ext cx="568574" cy="503268"/>
          </a:xfrm>
          <a:custGeom>
            <a:avLst/>
            <a:gdLst>
              <a:gd name="connsiteX0" fmla="*/ 287435 w 568487"/>
              <a:gd name="connsiteY0" fmla="*/ 95352 h 503191"/>
              <a:gd name="connsiteX1" fmla="*/ 484475 w 568487"/>
              <a:gd name="connsiteY1" fmla="*/ 271062 h 503191"/>
              <a:gd name="connsiteX2" fmla="*/ 484475 w 568487"/>
              <a:gd name="connsiteY2" fmla="*/ 487071 h 503191"/>
              <a:gd name="connsiteX3" fmla="*/ 469939 w 568487"/>
              <a:gd name="connsiteY3" fmla="*/ 501579 h 503191"/>
              <a:gd name="connsiteX4" fmla="*/ 329427 w 568487"/>
              <a:gd name="connsiteY4" fmla="*/ 501579 h 503191"/>
              <a:gd name="connsiteX5" fmla="*/ 329427 w 568487"/>
              <a:gd name="connsiteY5" fmla="*/ 385514 h 503191"/>
              <a:gd name="connsiteX6" fmla="*/ 308431 w 568487"/>
              <a:gd name="connsiteY6" fmla="*/ 366170 h 503191"/>
              <a:gd name="connsiteX7" fmla="*/ 248673 w 568487"/>
              <a:gd name="connsiteY7" fmla="*/ 366170 h 503191"/>
              <a:gd name="connsiteX8" fmla="*/ 232522 w 568487"/>
              <a:gd name="connsiteY8" fmla="*/ 385514 h 503191"/>
              <a:gd name="connsiteX9" fmla="*/ 232522 w 568487"/>
              <a:gd name="connsiteY9" fmla="*/ 503191 h 503191"/>
              <a:gd name="connsiteX10" fmla="*/ 88779 w 568487"/>
              <a:gd name="connsiteY10" fmla="*/ 503191 h 503191"/>
              <a:gd name="connsiteX11" fmla="*/ 77474 w 568487"/>
              <a:gd name="connsiteY11" fmla="*/ 490295 h 503191"/>
              <a:gd name="connsiteX12" fmla="*/ 77474 w 568487"/>
              <a:gd name="connsiteY12" fmla="*/ 271062 h 503191"/>
              <a:gd name="connsiteX13" fmla="*/ 445669 w 568487"/>
              <a:gd name="connsiteY13" fmla="*/ 58041 h 503191"/>
              <a:gd name="connsiteX14" fmla="*/ 500600 w 568487"/>
              <a:gd name="connsiteY14" fmla="*/ 58041 h 503191"/>
              <a:gd name="connsiteX15" fmla="*/ 500600 w 568487"/>
              <a:gd name="connsiteY15" fmla="*/ 172567 h 503191"/>
              <a:gd name="connsiteX16" fmla="*/ 445669 w 568487"/>
              <a:gd name="connsiteY16" fmla="*/ 125789 h 503191"/>
              <a:gd name="connsiteX17" fmla="*/ 289088 w 568487"/>
              <a:gd name="connsiteY17" fmla="*/ 0 h 503191"/>
              <a:gd name="connsiteX18" fmla="*/ 568487 w 568487"/>
              <a:gd name="connsiteY18" fmla="*/ 253224 h 503191"/>
              <a:gd name="connsiteX19" fmla="*/ 507116 w 568487"/>
              <a:gd name="connsiteY19" fmla="*/ 253224 h 503191"/>
              <a:gd name="connsiteX20" fmla="*/ 289088 w 568487"/>
              <a:gd name="connsiteY20" fmla="*/ 58064 h 503191"/>
              <a:gd name="connsiteX21" fmla="*/ 56526 w 568487"/>
              <a:gd name="connsiteY21" fmla="*/ 254836 h 503191"/>
              <a:gd name="connsiteX22" fmla="*/ 0 w 568487"/>
              <a:gd name="connsiteY22" fmla="*/ 254836 h 503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568487" h="503191">
                <a:moveTo>
                  <a:pt x="287435" y="95352"/>
                </a:moveTo>
                <a:lnTo>
                  <a:pt x="484475" y="271062"/>
                </a:lnTo>
                <a:lnTo>
                  <a:pt x="484475" y="487071"/>
                </a:lnTo>
                <a:cubicBezTo>
                  <a:pt x="484475" y="487071"/>
                  <a:pt x="486090" y="501579"/>
                  <a:pt x="469939" y="501579"/>
                </a:cubicBezTo>
                <a:lnTo>
                  <a:pt x="329427" y="501579"/>
                </a:lnTo>
                <a:lnTo>
                  <a:pt x="329427" y="385514"/>
                </a:lnTo>
                <a:cubicBezTo>
                  <a:pt x="329427" y="385514"/>
                  <a:pt x="331042" y="366170"/>
                  <a:pt x="308431" y="366170"/>
                </a:cubicBezTo>
                <a:lnTo>
                  <a:pt x="248673" y="366170"/>
                </a:lnTo>
                <a:cubicBezTo>
                  <a:pt x="230907" y="366170"/>
                  <a:pt x="232522" y="385514"/>
                  <a:pt x="232522" y="385514"/>
                </a:cubicBezTo>
                <a:lnTo>
                  <a:pt x="232522" y="503191"/>
                </a:lnTo>
                <a:cubicBezTo>
                  <a:pt x="232522" y="503191"/>
                  <a:pt x="104930" y="503191"/>
                  <a:pt x="88779" y="503191"/>
                </a:cubicBezTo>
                <a:cubicBezTo>
                  <a:pt x="77474" y="503191"/>
                  <a:pt x="77474" y="490295"/>
                  <a:pt x="77474" y="490295"/>
                </a:cubicBezTo>
                <a:lnTo>
                  <a:pt x="77474" y="271062"/>
                </a:lnTo>
                <a:close/>
                <a:moveTo>
                  <a:pt x="445669" y="58041"/>
                </a:moveTo>
                <a:lnTo>
                  <a:pt x="500600" y="58041"/>
                </a:lnTo>
                <a:lnTo>
                  <a:pt x="500600" y="172567"/>
                </a:lnTo>
                <a:lnTo>
                  <a:pt x="445669" y="125789"/>
                </a:lnTo>
                <a:close/>
                <a:moveTo>
                  <a:pt x="289088" y="0"/>
                </a:moveTo>
                <a:lnTo>
                  <a:pt x="568487" y="253224"/>
                </a:lnTo>
                <a:cubicBezTo>
                  <a:pt x="568487" y="253224"/>
                  <a:pt x="550722" y="285481"/>
                  <a:pt x="507116" y="253224"/>
                </a:cubicBezTo>
                <a:lnTo>
                  <a:pt x="289088" y="58064"/>
                </a:lnTo>
                <a:lnTo>
                  <a:pt x="56526" y="254836"/>
                </a:lnTo>
                <a:cubicBezTo>
                  <a:pt x="17765" y="287094"/>
                  <a:pt x="0" y="254836"/>
                  <a:pt x="0" y="254836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矩形: 圆角 18"/>
          <p:cNvSpPr/>
          <p:nvPr/>
        </p:nvSpPr>
        <p:spPr>
          <a:xfrm>
            <a:off x="3737454" y="2785569"/>
            <a:ext cx="1705964" cy="1705964"/>
          </a:xfrm>
          <a:prstGeom prst="roundRect">
            <a:avLst>
              <a:gd name="adj" fmla="val 6535"/>
            </a:avLst>
          </a:prstGeom>
          <a:noFill/>
          <a:ln w="12700">
            <a:solidFill>
              <a:schemeClr val="accent2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矩形: 圆角 19"/>
          <p:cNvSpPr/>
          <p:nvPr/>
        </p:nvSpPr>
        <p:spPr>
          <a:xfrm>
            <a:off x="4480678" y="2509271"/>
            <a:ext cx="1444911" cy="552596"/>
          </a:xfrm>
          <a:prstGeom prst="roundRect">
            <a:avLst>
              <a:gd name="adj" fmla="val 6535"/>
            </a:avLst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sz="2000" b="1" i="1">
                <a:cs typeface="+mn-ea"/>
                <a:sym typeface="+mn-lt"/>
              </a:rPr>
              <a:t>T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sz="2000" b="1" i="1">
                <a:cs typeface="+mn-ea"/>
                <a:sym typeface="+mn-lt"/>
              </a:rPr>
              <a:t>ext</a:t>
            </a:r>
            <a:endParaRPr lang="en-US" altLang="zh-CN" sz="2000" b="1" i="1" dirty="0"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4335613" y="3384112"/>
            <a:ext cx="509646" cy="508878"/>
          </a:xfrm>
          <a:custGeom>
            <a:avLst/>
            <a:gdLst>
              <a:gd name="T0" fmla="*/ 5847 w 6130"/>
              <a:gd name="T1" fmla="*/ 4531 h 6130"/>
              <a:gd name="T2" fmla="*/ 5530 w 6130"/>
              <a:gd name="T3" fmla="*/ 4531 h 6130"/>
              <a:gd name="T4" fmla="*/ 5530 w 6130"/>
              <a:gd name="T5" fmla="*/ 4463 h 6130"/>
              <a:gd name="T6" fmla="*/ 4132 w 6130"/>
              <a:gd name="T7" fmla="*/ 3065 h 6130"/>
              <a:gd name="T8" fmla="*/ 3265 w 6130"/>
              <a:gd name="T9" fmla="*/ 3065 h 6130"/>
              <a:gd name="T10" fmla="*/ 3265 w 6130"/>
              <a:gd name="T11" fmla="*/ 1599 h 6130"/>
              <a:gd name="T12" fmla="*/ 3581 w 6130"/>
              <a:gd name="T13" fmla="*/ 1599 h 6130"/>
              <a:gd name="T14" fmla="*/ 3864 w 6130"/>
              <a:gd name="T15" fmla="*/ 1316 h 6130"/>
              <a:gd name="T16" fmla="*/ 3864 w 6130"/>
              <a:gd name="T17" fmla="*/ 283 h 6130"/>
              <a:gd name="T18" fmla="*/ 3581 w 6130"/>
              <a:gd name="T19" fmla="*/ 0 h 6130"/>
              <a:gd name="T20" fmla="*/ 2549 w 6130"/>
              <a:gd name="T21" fmla="*/ 0 h 6130"/>
              <a:gd name="T22" fmla="*/ 2265 w 6130"/>
              <a:gd name="T23" fmla="*/ 283 h 6130"/>
              <a:gd name="T24" fmla="*/ 2265 w 6130"/>
              <a:gd name="T25" fmla="*/ 1316 h 6130"/>
              <a:gd name="T26" fmla="*/ 2549 w 6130"/>
              <a:gd name="T27" fmla="*/ 1599 h 6130"/>
              <a:gd name="T28" fmla="*/ 2865 w 6130"/>
              <a:gd name="T29" fmla="*/ 1599 h 6130"/>
              <a:gd name="T30" fmla="*/ 2865 w 6130"/>
              <a:gd name="T31" fmla="*/ 3065 h 6130"/>
              <a:gd name="T32" fmla="*/ 1998 w 6130"/>
              <a:gd name="T33" fmla="*/ 3065 h 6130"/>
              <a:gd name="T34" fmla="*/ 600 w 6130"/>
              <a:gd name="T35" fmla="*/ 4463 h 6130"/>
              <a:gd name="T36" fmla="*/ 600 w 6130"/>
              <a:gd name="T37" fmla="*/ 4531 h 6130"/>
              <a:gd name="T38" fmla="*/ 283 w 6130"/>
              <a:gd name="T39" fmla="*/ 4531 h 6130"/>
              <a:gd name="T40" fmla="*/ 0 w 6130"/>
              <a:gd name="T41" fmla="*/ 4814 h 6130"/>
              <a:gd name="T42" fmla="*/ 0 w 6130"/>
              <a:gd name="T43" fmla="*/ 5847 h 6130"/>
              <a:gd name="T44" fmla="*/ 283 w 6130"/>
              <a:gd name="T45" fmla="*/ 6130 h 6130"/>
              <a:gd name="T46" fmla="*/ 1316 w 6130"/>
              <a:gd name="T47" fmla="*/ 6130 h 6130"/>
              <a:gd name="T48" fmla="*/ 1599 w 6130"/>
              <a:gd name="T49" fmla="*/ 5847 h 6130"/>
              <a:gd name="T50" fmla="*/ 1599 w 6130"/>
              <a:gd name="T51" fmla="*/ 4814 h 6130"/>
              <a:gd name="T52" fmla="*/ 1316 w 6130"/>
              <a:gd name="T53" fmla="*/ 4531 h 6130"/>
              <a:gd name="T54" fmla="*/ 999 w 6130"/>
              <a:gd name="T55" fmla="*/ 4531 h 6130"/>
              <a:gd name="T56" fmla="*/ 999 w 6130"/>
              <a:gd name="T57" fmla="*/ 4463 h 6130"/>
              <a:gd name="T58" fmla="*/ 1998 w 6130"/>
              <a:gd name="T59" fmla="*/ 3465 h 6130"/>
              <a:gd name="T60" fmla="*/ 2865 w 6130"/>
              <a:gd name="T61" fmla="*/ 3465 h 6130"/>
              <a:gd name="T62" fmla="*/ 2865 w 6130"/>
              <a:gd name="T63" fmla="*/ 4531 h 6130"/>
              <a:gd name="T64" fmla="*/ 2549 w 6130"/>
              <a:gd name="T65" fmla="*/ 4531 h 6130"/>
              <a:gd name="T66" fmla="*/ 2265 w 6130"/>
              <a:gd name="T67" fmla="*/ 4814 h 6130"/>
              <a:gd name="T68" fmla="*/ 2265 w 6130"/>
              <a:gd name="T69" fmla="*/ 5847 h 6130"/>
              <a:gd name="T70" fmla="*/ 2549 w 6130"/>
              <a:gd name="T71" fmla="*/ 6130 h 6130"/>
              <a:gd name="T72" fmla="*/ 3581 w 6130"/>
              <a:gd name="T73" fmla="*/ 6130 h 6130"/>
              <a:gd name="T74" fmla="*/ 3864 w 6130"/>
              <a:gd name="T75" fmla="*/ 5847 h 6130"/>
              <a:gd name="T76" fmla="*/ 3864 w 6130"/>
              <a:gd name="T77" fmla="*/ 4814 h 6130"/>
              <a:gd name="T78" fmla="*/ 3581 w 6130"/>
              <a:gd name="T79" fmla="*/ 4531 h 6130"/>
              <a:gd name="T80" fmla="*/ 3265 w 6130"/>
              <a:gd name="T81" fmla="*/ 4531 h 6130"/>
              <a:gd name="T82" fmla="*/ 3265 w 6130"/>
              <a:gd name="T83" fmla="*/ 3465 h 6130"/>
              <a:gd name="T84" fmla="*/ 4132 w 6130"/>
              <a:gd name="T85" fmla="*/ 3465 h 6130"/>
              <a:gd name="T86" fmla="*/ 5130 w 6130"/>
              <a:gd name="T87" fmla="*/ 4463 h 6130"/>
              <a:gd name="T88" fmla="*/ 5130 w 6130"/>
              <a:gd name="T89" fmla="*/ 4531 h 6130"/>
              <a:gd name="T90" fmla="*/ 4814 w 6130"/>
              <a:gd name="T91" fmla="*/ 4531 h 6130"/>
              <a:gd name="T92" fmla="*/ 4531 w 6130"/>
              <a:gd name="T93" fmla="*/ 4814 h 6130"/>
              <a:gd name="T94" fmla="*/ 4531 w 6130"/>
              <a:gd name="T95" fmla="*/ 5847 h 6130"/>
              <a:gd name="T96" fmla="*/ 4814 w 6130"/>
              <a:gd name="T97" fmla="*/ 6130 h 6130"/>
              <a:gd name="T98" fmla="*/ 5847 w 6130"/>
              <a:gd name="T99" fmla="*/ 6130 h 6130"/>
              <a:gd name="T100" fmla="*/ 6130 w 6130"/>
              <a:gd name="T101" fmla="*/ 5847 h 6130"/>
              <a:gd name="T102" fmla="*/ 6130 w 6130"/>
              <a:gd name="T103" fmla="*/ 4814 h 6130"/>
              <a:gd name="T104" fmla="*/ 5847 w 6130"/>
              <a:gd name="T105" fmla="*/ 4531 h 6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130" h="6130">
                <a:moveTo>
                  <a:pt x="5847" y="4531"/>
                </a:moveTo>
                <a:lnTo>
                  <a:pt x="5530" y="4531"/>
                </a:lnTo>
                <a:lnTo>
                  <a:pt x="5530" y="4463"/>
                </a:lnTo>
                <a:cubicBezTo>
                  <a:pt x="5530" y="3692"/>
                  <a:pt x="4903" y="3065"/>
                  <a:pt x="4132" y="3065"/>
                </a:cubicBezTo>
                <a:lnTo>
                  <a:pt x="3265" y="3065"/>
                </a:lnTo>
                <a:lnTo>
                  <a:pt x="3265" y="1599"/>
                </a:lnTo>
                <a:lnTo>
                  <a:pt x="3581" y="1599"/>
                </a:lnTo>
                <a:cubicBezTo>
                  <a:pt x="3738" y="1599"/>
                  <a:pt x="3864" y="1472"/>
                  <a:pt x="3864" y="1316"/>
                </a:cubicBezTo>
                <a:lnTo>
                  <a:pt x="3864" y="283"/>
                </a:lnTo>
                <a:cubicBezTo>
                  <a:pt x="3864" y="127"/>
                  <a:pt x="3738" y="0"/>
                  <a:pt x="3581" y="0"/>
                </a:cubicBezTo>
                <a:lnTo>
                  <a:pt x="2549" y="0"/>
                </a:lnTo>
                <a:cubicBezTo>
                  <a:pt x="2392" y="0"/>
                  <a:pt x="2265" y="127"/>
                  <a:pt x="2265" y="283"/>
                </a:cubicBezTo>
                <a:lnTo>
                  <a:pt x="2265" y="1316"/>
                </a:lnTo>
                <a:cubicBezTo>
                  <a:pt x="2265" y="1472"/>
                  <a:pt x="2392" y="1599"/>
                  <a:pt x="2549" y="1599"/>
                </a:cubicBezTo>
                <a:lnTo>
                  <a:pt x="2865" y="1599"/>
                </a:lnTo>
                <a:lnTo>
                  <a:pt x="2865" y="3065"/>
                </a:lnTo>
                <a:lnTo>
                  <a:pt x="1998" y="3065"/>
                </a:lnTo>
                <a:cubicBezTo>
                  <a:pt x="1227" y="3065"/>
                  <a:pt x="600" y="3692"/>
                  <a:pt x="600" y="4463"/>
                </a:cubicBezTo>
                <a:lnTo>
                  <a:pt x="600" y="4531"/>
                </a:lnTo>
                <a:lnTo>
                  <a:pt x="283" y="4531"/>
                </a:lnTo>
                <a:cubicBezTo>
                  <a:pt x="127" y="4531"/>
                  <a:pt x="0" y="4658"/>
                  <a:pt x="0" y="4814"/>
                </a:cubicBezTo>
                <a:lnTo>
                  <a:pt x="0" y="5847"/>
                </a:lnTo>
                <a:cubicBezTo>
                  <a:pt x="0" y="6003"/>
                  <a:pt x="127" y="6130"/>
                  <a:pt x="283" y="6130"/>
                </a:cubicBezTo>
                <a:lnTo>
                  <a:pt x="1316" y="6130"/>
                </a:lnTo>
                <a:cubicBezTo>
                  <a:pt x="1472" y="6130"/>
                  <a:pt x="1599" y="6003"/>
                  <a:pt x="1599" y="5847"/>
                </a:cubicBezTo>
                <a:lnTo>
                  <a:pt x="1599" y="4814"/>
                </a:lnTo>
                <a:cubicBezTo>
                  <a:pt x="1599" y="4658"/>
                  <a:pt x="1472" y="4531"/>
                  <a:pt x="1316" y="4531"/>
                </a:cubicBezTo>
                <a:lnTo>
                  <a:pt x="999" y="4531"/>
                </a:lnTo>
                <a:lnTo>
                  <a:pt x="999" y="4463"/>
                </a:lnTo>
                <a:cubicBezTo>
                  <a:pt x="999" y="3913"/>
                  <a:pt x="1447" y="3465"/>
                  <a:pt x="1998" y="3465"/>
                </a:cubicBezTo>
                <a:lnTo>
                  <a:pt x="2865" y="3465"/>
                </a:lnTo>
                <a:lnTo>
                  <a:pt x="2865" y="4531"/>
                </a:lnTo>
                <a:lnTo>
                  <a:pt x="2549" y="4531"/>
                </a:lnTo>
                <a:cubicBezTo>
                  <a:pt x="2392" y="4531"/>
                  <a:pt x="2265" y="4658"/>
                  <a:pt x="2265" y="4814"/>
                </a:cubicBezTo>
                <a:lnTo>
                  <a:pt x="2265" y="5847"/>
                </a:lnTo>
                <a:cubicBezTo>
                  <a:pt x="2265" y="6003"/>
                  <a:pt x="2392" y="6130"/>
                  <a:pt x="2549" y="6130"/>
                </a:cubicBezTo>
                <a:lnTo>
                  <a:pt x="3581" y="6130"/>
                </a:lnTo>
                <a:cubicBezTo>
                  <a:pt x="3738" y="6130"/>
                  <a:pt x="3864" y="6003"/>
                  <a:pt x="3864" y="5847"/>
                </a:cubicBezTo>
                <a:lnTo>
                  <a:pt x="3864" y="4814"/>
                </a:lnTo>
                <a:cubicBezTo>
                  <a:pt x="3864" y="4658"/>
                  <a:pt x="3738" y="4531"/>
                  <a:pt x="3581" y="4531"/>
                </a:cubicBezTo>
                <a:lnTo>
                  <a:pt x="3265" y="4531"/>
                </a:lnTo>
                <a:lnTo>
                  <a:pt x="3265" y="3465"/>
                </a:lnTo>
                <a:lnTo>
                  <a:pt x="4132" y="3465"/>
                </a:lnTo>
                <a:cubicBezTo>
                  <a:pt x="4683" y="3465"/>
                  <a:pt x="5130" y="3913"/>
                  <a:pt x="5130" y="4463"/>
                </a:cubicBezTo>
                <a:lnTo>
                  <a:pt x="5130" y="4531"/>
                </a:lnTo>
                <a:lnTo>
                  <a:pt x="4814" y="4531"/>
                </a:lnTo>
                <a:cubicBezTo>
                  <a:pt x="4657" y="4531"/>
                  <a:pt x="4531" y="4658"/>
                  <a:pt x="4531" y="4814"/>
                </a:cubicBezTo>
                <a:lnTo>
                  <a:pt x="4531" y="5847"/>
                </a:lnTo>
                <a:cubicBezTo>
                  <a:pt x="4531" y="6003"/>
                  <a:pt x="4657" y="6130"/>
                  <a:pt x="4814" y="6130"/>
                </a:cubicBezTo>
                <a:lnTo>
                  <a:pt x="5847" y="6130"/>
                </a:lnTo>
                <a:cubicBezTo>
                  <a:pt x="6003" y="6130"/>
                  <a:pt x="6130" y="6003"/>
                  <a:pt x="6130" y="5847"/>
                </a:cubicBezTo>
                <a:lnTo>
                  <a:pt x="6130" y="4814"/>
                </a:lnTo>
                <a:cubicBezTo>
                  <a:pt x="6130" y="4658"/>
                  <a:pt x="6003" y="4531"/>
                  <a:pt x="5847" y="4531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矩形: 圆角 15"/>
          <p:cNvSpPr/>
          <p:nvPr/>
        </p:nvSpPr>
        <p:spPr>
          <a:xfrm>
            <a:off x="6266411" y="2785569"/>
            <a:ext cx="1705964" cy="1705964"/>
          </a:xfrm>
          <a:prstGeom prst="roundRect">
            <a:avLst>
              <a:gd name="adj" fmla="val 6535"/>
            </a:avLst>
          </a:prstGeom>
          <a:noFill/>
          <a:ln w="12700">
            <a:solidFill>
              <a:schemeClr val="accent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7" name="矩形: 圆角 16"/>
          <p:cNvSpPr/>
          <p:nvPr/>
        </p:nvSpPr>
        <p:spPr>
          <a:xfrm>
            <a:off x="7009635" y="4215235"/>
            <a:ext cx="1444911" cy="552596"/>
          </a:xfrm>
          <a:prstGeom prst="roundRect">
            <a:avLst>
              <a:gd name="adj" fmla="val 6535"/>
            </a:avLst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sz="2000" b="1" i="1">
                <a:cs typeface="+mn-ea"/>
                <a:sym typeface="+mn-lt"/>
              </a:rPr>
              <a:t>T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sz="2000" b="1" i="1">
                <a:cs typeface="+mn-ea"/>
                <a:sym typeface="+mn-lt"/>
              </a:rPr>
              <a:t>ext</a:t>
            </a:r>
            <a:endParaRPr lang="en-US" altLang="zh-CN" sz="2000" b="1" i="1" dirty="0">
              <a:cs typeface="+mn-ea"/>
              <a:sym typeface="+mn-lt"/>
            </a:endParaRPr>
          </a:p>
        </p:txBody>
      </p:sp>
      <p:sp>
        <p:nvSpPr>
          <p:cNvPr id="18" name="任意多边形: 形状 17"/>
          <p:cNvSpPr/>
          <p:nvPr/>
        </p:nvSpPr>
        <p:spPr>
          <a:xfrm>
            <a:off x="6882170" y="3354264"/>
            <a:ext cx="474447" cy="568574"/>
          </a:xfrm>
          <a:custGeom>
            <a:avLst/>
            <a:gdLst>
              <a:gd name="T0" fmla="*/ 4643 w 4692"/>
              <a:gd name="T1" fmla="*/ 1902 h 5631"/>
              <a:gd name="T2" fmla="*/ 4148 w 4692"/>
              <a:gd name="T3" fmla="*/ 111 h 5631"/>
              <a:gd name="T4" fmla="*/ 3925 w 4692"/>
              <a:gd name="T5" fmla="*/ 83 h 5631"/>
              <a:gd name="T6" fmla="*/ 3855 w 4692"/>
              <a:gd name="T7" fmla="*/ 120 h 5631"/>
              <a:gd name="T8" fmla="*/ 2357 w 4692"/>
              <a:gd name="T9" fmla="*/ 152 h 5631"/>
              <a:gd name="T10" fmla="*/ 1484 w 4692"/>
              <a:gd name="T11" fmla="*/ 310 h 5631"/>
              <a:gd name="T12" fmla="*/ 593 w 4692"/>
              <a:gd name="T13" fmla="*/ 1058 h 5631"/>
              <a:gd name="T14" fmla="*/ 450 w 4692"/>
              <a:gd name="T15" fmla="*/ 693 h 5631"/>
              <a:gd name="T16" fmla="*/ 33 w 4692"/>
              <a:gd name="T17" fmla="*/ 869 h 5631"/>
              <a:gd name="T18" fmla="*/ 672 w 4692"/>
              <a:gd name="T19" fmla="*/ 3296 h 5631"/>
              <a:gd name="T20" fmla="*/ 1329 w 4692"/>
              <a:gd name="T21" fmla="*/ 5431 h 5631"/>
              <a:gd name="T22" fmla="*/ 1752 w 4692"/>
              <a:gd name="T23" fmla="*/ 5316 h 5631"/>
              <a:gd name="T24" fmla="*/ 1232 w 4692"/>
              <a:gd name="T25" fmla="*/ 3221 h 5631"/>
              <a:gd name="T26" fmla="*/ 2324 w 4692"/>
              <a:gd name="T27" fmla="*/ 2452 h 5631"/>
              <a:gd name="T28" fmla="*/ 3595 w 4692"/>
              <a:gd name="T29" fmla="*/ 2496 h 5631"/>
              <a:gd name="T30" fmla="*/ 4630 w 4692"/>
              <a:gd name="T31" fmla="*/ 2062 h 5631"/>
              <a:gd name="T32" fmla="*/ 4643 w 4692"/>
              <a:gd name="T33" fmla="*/ 1902 h 56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92" h="5631">
                <a:moveTo>
                  <a:pt x="4643" y="1902"/>
                </a:moveTo>
                <a:cubicBezTo>
                  <a:pt x="4692" y="1287"/>
                  <a:pt x="4371" y="664"/>
                  <a:pt x="4148" y="111"/>
                </a:cubicBezTo>
                <a:cubicBezTo>
                  <a:pt x="4109" y="15"/>
                  <a:pt x="3967" y="0"/>
                  <a:pt x="3925" y="83"/>
                </a:cubicBezTo>
                <a:cubicBezTo>
                  <a:pt x="3900" y="87"/>
                  <a:pt x="3876" y="99"/>
                  <a:pt x="3855" y="120"/>
                </a:cubicBezTo>
                <a:cubicBezTo>
                  <a:pt x="3434" y="537"/>
                  <a:pt x="2826" y="168"/>
                  <a:pt x="2357" y="152"/>
                </a:cubicBezTo>
                <a:cubicBezTo>
                  <a:pt x="2058" y="141"/>
                  <a:pt x="1762" y="197"/>
                  <a:pt x="1484" y="310"/>
                </a:cubicBezTo>
                <a:cubicBezTo>
                  <a:pt x="1102" y="465"/>
                  <a:pt x="793" y="716"/>
                  <a:pt x="593" y="1058"/>
                </a:cubicBezTo>
                <a:cubicBezTo>
                  <a:pt x="547" y="936"/>
                  <a:pt x="503" y="812"/>
                  <a:pt x="450" y="693"/>
                </a:cubicBezTo>
                <a:cubicBezTo>
                  <a:pt x="335" y="435"/>
                  <a:pt x="0" y="638"/>
                  <a:pt x="33" y="869"/>
                </a:cubicBezTo>
                <a:cubicBezTo>
                  <a:pt x="149" y="1690"/>
                  <a:pt x="447" y="2498"/>
                  <a:pt x="672" y="3296"/>
                </a:cubicBezTo>
                <a:cubicBezTo>
                  <a:pt x="873" y="4010"/>
                  <a:pt x="1024" y="4753"/>
                  <a:pt x="1329" y="5431"/>
                </a:cubicBezTo>
                <a:cubicBezTo>
                  <a:pt x="1419" y="5631"/>
                  <a:pt x="1778" y="5537"/>
                  <a:pt x="1752" y="5316"/>
                </a:cubicBezTo>
                <a:cubicBezTo>
                  <a:pt x="1668" y="4605"/>
                  <a:pt x="1436" y="3910"/>
                  <a:pt x="1232" y="3221"/>
                </a:cubicBezTo>
                <a:cubicBezTo>
                  <a:pt x="1511" y="2867"/>
                  <a:pt x="1886" y="2574"/>
                  <a:pt x="2324" y="2452"/>
                </a:cubicBezTo>
                <a:cubicBezTo>
                  <a:pt x="2767" y="2329"/>
                  <a:pt x="3157" y="2451"/>
                  <a:pt x="3595" y="2496"/>
                </a:cubicBezTo>
                <a:cubicBezTo>
                  <a:pt x="4021" y="2540"/>
                  <a:pt x="4409" y="2452"/>
                  <a:pt x="4630" y="2062"/>
                </a:cubicBezTo>
                <a:cubicBezTo>
                  <a:pt x="4663" y="2003"/>
                  <a:pt x="4663" y="1947"/>
                  <a:pt x="4643" y="1902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矩形: 圆角 12"/>
          <p:cNvSpPr/>
          <p:nvPr/>
        </p:nvSpPr>
        <p:spPr>
          <a:xfrm>
            <a:off x="8795368" y="2785569"/>
            <a:ext cx="1705964" cy="1705964"/>
          </a:xfrm>
          <a:prstGeom prst="roundRect">
            <a:avLst>
              <a:gd name="adj" fmla="val 6535"/>
            </a:avLst>
          </a:prstGeom>
          <a:noFill/>
          <a:ln w="12700">
            <a:solidFill>
              <a:schemeClr val="accent2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矩形: 圆角 13"/>
          <p:cNvSpPr/>
          <p:nvPr/>
        </p:nvSpPr>
        <p:spPr>
          <a:xfrm>
            <a:off x="9538592" y="2509271"/>
            <a:ext cx="1444911" cy="552596"/>
          </a:xfrm>
          <a:prstGeom prst="roundRect">
            <a:avLst>
              <a:gd name="adj" fmla="val 6535"/>
            </a:avLst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sz="2000" b="1" i="1">
                <a:cs typeface="+mn-ea"/>
                <a:sym typeface="+mn-lt"/>
              </a:rPr>
              <a:t>T</a:t>
            </a:r>
            <a:r>
              <a:rPr lang="en-US" altLang="zh-CN" sz="100" b="1" i="1">
                <a:cs typeface="+mn-ea"/>
                <a:sym typeface="+mn-lt"/>
              </a:rPr>
              <a:t> </a:t>
            </a:r>
            <a:r>
              <a:rPr lang="en-US" altLang="zh-CN" sz="2000" b="1" i="1">
                <a:cs typeface="+mn-ea"/>
                <a:sym typeface="+mn-lt"/>
              </a:rPr>
              <a:t>ext</a:t>
            </a:r>
            <a:endParaRPr lang="en-US" altLang="zh-CN" sz="2000" b="1" i="1" dirty="0">
              <a:cs typeface="+mn-ea"/>
              <a:sym typeface="+mn-lt"/>
            </a:endParaRPr>
          </a:p>
        </p:txBody>
      </p:sp>
      <p:sp>
        <p:nvSpPr>
          <p:cNvPr id="15" name="任意多边形: 形状 14"/>
          <p:cNvSpPr/>
          <p:nvPr/>
        </p:nvSpPr>
        <p:spPr>
          <a:xfrm>
            <a:off x="9388463" y="3384111"/>
            <a:ext cx="519774" cy="508880"/>
          </a:xfrm>
          <a:custGeom>
            <a:avLst/>
            <a:gdLst>
              <a:gd name="connsiteX0" fmla="*/ 163903 w 607933"/>
              <a:gd name="connsiteY0" fmla="*/ 369028 h 595191"/>
              <a:gd name="connsiteX1" fmla="*/ 195691 w 607933"/>
              <a:gd name="connsiteY1" fmla="*/ 416642 h 595191"/>
              <a:gd name="connsiteX2" fmla="*/ 52648 w 607933"/>
              <a:gd name="connsiteY2" fmla="*/ 476158 h 595191"/>
              <a:gd name="connsiteX3" fmla="*/ 303967 w 607933"/>
              <a:gd name="connsiteY3" fmla="*/ 542618 h 595191"/>
              <a:gd name="connsiteX4" fmla="*/ 555285 w 607933"/>
              <a:gd name="connsiteY4" fmla="*/ 476158 h 595191"/>
              <a:gd name="connsiteX5" fmla="*/ 413235 w 607933"/>
              <a:gd name="connsiteY5" fmla="*/ 416642 h 595191"/>
              <a:gd name="connsiteX6" fmla="*/ 444029 w 607933"/>
              <a:gd name="connsiteY6" fmla="*/ 369028 h 595191"/>
              <a:gd name="connsiteX7" fmla="*/ 607933 w 607933"/>
              <a:gd name="connsiteY7" fmla="*/ 476158 h 595191"/>
              <a:gd name="connsiteX8" fmla="*/ 303967 w 607933"/>
              <a:gd name="connsiteY8" fmla="*/ 595191 h 595191"/>
              <a:gd name="connsiteX9" fmla="*/ 0 w 607933"/>
              <a:gd name="connsiteY9" fmla="*/ 476158 h 595191"/>
              <a:gd name="connsiteX10" fmla="*/ 163903 w 607933"/>
              <a:gd name="connsiteY10" fmla="*/ 369028 h 595191"/>
              <a:gd name="connsiteX11" fmla="*/ 303967 w 607933"/>
              <a:gd name="connsiteY11" fmla="*/ 100209 h 595191"/>
              <a:gd name="connsiteX12" fmla="*/ 230453 w 607933"/>
              <a:gd name="connsiteY12" fmla="*/ 174622 h 595191"/>
              <a:gd name="connsiteX13" fmla="*/ 303967 w 607933"/>
              <a:gd name="connsiteY13" fmla="*/ 248042 h 595191"/>
              <a:gd name="connsiteX14" fmla="*/ 378475 w 607933"/>
              <a:gd name="connsiteY14" fmla="*/ 174622 h 595191"/>
              <a:gd name="connsiteX15" fmla="*/ 303967 w 607933"/>
              <a:gd name="connsiteY15" fmla="*/ 100209 h 595191"/>
              <a:gd name="connsiteX16" fmla="*/ 303967 w 607933"/>
              <a:gd name="connsiteY16" fmla="*/ 0 h 595191"/>
              <a:gd name="connsiteX17" fmla="*/ 481792 w 607933"/>
              <a:gd name="connsiteY17" fmla="*/ 177598 h 595191"/>
              <a:gd name="connsiteX18" fmla="*/ 338737 w 607933"/>
              <a:gd name="connsiteY18" fmla="*/ 453420 h 595191"/>
              <a:gd name="connsiteX19" fmla="*/ 303967 w 607933"/>
              <a:gd name="connsiteY19" fmla="*/ 471279 h 595191"/>
              <a:gd name="connsiteX20" fmla="*/ 269197 w 607933"/>
              <a:gd name="connsiteY20" fmla="*/ 453420 h 595191"/>
              <a:gd name="connsiteX21" fmla="*/ 126142 w 607933"/>
              <a:gd name="connsiteY21" fmla="*/ 177598 h 595191"/>
              <a:gd name="connsiteX22" fmla="*/ 303967 w 607933"/>
              <a:gd name="connsiteY22" fmla="*/ 0 h 595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607933" h="595191">
                <a:moveTo>
                  <a:pt x="163903" y="369028"/>
                </a:moveTo>
                <a:cubicBezTo>
                  <a:pt x="173837" y="383907"/>
                  <a:pt x="183771" y="399778"/>
                  <a:pt x="195691" y="416642"/>
                </a:cubicBezTo>
                <a:cubicBezTo>
                  <a:pt x="101322" y="430529"/>
                  <a:pt x="52648" y="461279"/>
                  <a:pt x="52648" y="476158"/>
                </a:cubicBezTo>
                <a:cubicBezTo>
                  <a:pt x="52648" y="495997"/>
                  <a:pt x="138076" y="542618"/>
                  <a:pt x="303967" y="542618"/>
                </a:cubicBezTo>
                <a:cubicBezTo>
                  <a:pt x="469857" y="542618"/>
                  <a:pt x="555285" y="495997"/>
                  <a:pt x="555285" y="476158"/>
                </a:cubicBezTo>
                <a:cubicBezTo>
                  <a:pt x="555285" y="461279"/>
                  <a:pt x="507604" y="430529"/>
                  <a:pt x="413235" y="416642"/>
                </a:cubicBezTo>
                <a:cubicBezTo>
                  <a:pt x="424162" y="399778"/>
                  <a:pt x="434096" y="383907"/>
                  <a:pt x="444029" y="369028"/>
                </a:cubicBezTo>
                <a:cubicBezTo>
                  <a:pt x="537405" y="385891"/>
                  <a:pt x="607933" y="422593"/>
                  <a:pt x="607933" y="476158"/>
                </a:cubicBezTo>
                <a:cubicBezTo>
                  <a:pt x="607933" y="554522"/>
                  <a:pt x="454956" y="595191"/>
                  <a:pt x="303967" y="595191"/>
                </a:cubicBezTo>
                <a:cubicBezTo>
                  <a:pt x="152977" y="595191"/>
                  <a:pt x="0" y="554522"/>
                  <a:pt x="0" y="476158"/>
                </a:cubicBezTo>
                <a:cubicBezTo>
                  <a:pt x="0" y="422593"/>
                  <a:pt x="71522" y="385891"/>
                  <a:pt x="163903" y="369028"/>
                </a:cubicBezTo>
                <a:close/>
                <a:moveTo>
                  <a:pt x="303967" y="100209"/>
                </a:moveTo>
                <a:cubicBezTo>
                  <a:pt x="263236" y="100209"/>
                  <a:pt x="230453" y="133943"/>
                  <a:pt x="230453" y="174622"/>
                </a:cubicBezTo>
                <a:cubicBezTo>
                  <a:pt x="230453" y="215300"/>
                  <a:pt x="263236" y="248042"/>
                  <a:pt x="303967" y="248042"/>
                </a:cubicBezTo>
                <a:cubicBezTo>
                  <a:pt x="344698" y="248042"/>
                  <a:pt x="378475" y="215300"/>
                  <a:pt x="378475" y="174622"/>
                </a:cubicBezTo>
                <a:cubicBezTo>
                  <a:pt x="378475" y="133943"/>
                  <a:pt x="344698" y="100209"/>
                  <a:pt x="303967" y="100209"/>
                </a:cubicBezTo>
                <a:close/>
                <a:moveTo>
                  <a:pt x="303967" y="0"/>
                </a:moveTo>
                <a:cubicBezTo>
                  <a:pt x="402317" y="0"/>
                  <a:pt x="481792" y="79374"/>
                  <a:pt x="481792" y="177598"/>
                </a:cubicBezTo>
                <a:cubicBezTo>
                  <a:pt x="481792" y="248042"/>
                  <a:pt x="390396" y="382976"/>
                  <a:pt x="338737" y="453420"/>
                </a:cubicBezTo>
                <a:cubicBezTo>
                  <a:pt x="330790" y="464334"/>
                  <a:pt x="317875" y="471279"/>
                  <a:pt x="303967" y="471279"/>
                </a:cubicBezTo>
                <a:cubicBezTo>
                  <a:pt x="290059" y="471279"/>
                  <a:pt x="277144" y="464334"/>
                  <a:pt x="269197" y="453420"/>
                </a:cubicBezTo>
                <a:cubicBezTo>
                  <a:pt x="217538" y="382976"/>
                  <a:pt x="126142" y="248042"/>
                  <a:pt x="126142" y="177598"/>
                </a:cubicBezTo>
                <a:cubicBezTo>
                  <a:pt x="126142" y="79374"/>
                  <a:pt x="205617" y="0"/>
                  <a:pt x="303967" y="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49203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鉴别诊断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5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0597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鉴别诊断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: 圆角 5"/>
          <p:cNvSpPr/>
          <p:nvPr/>
        </p:nvSpPr>
        <p:spPr>
          <a:xfrm>
            <a:off x="1193006" y="1650999"/>
            <a:ext cx="9805988" cy="4241801"/>
          </a:xfrm>
          <a:prstGeom prst="roundRect">
            <a:avLst>
              <a:gd name="adj" fmla="val 4784"/>
            </a:avLst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箭头: 左右 6"/>
          <p:cNvSpPr/>
          <p:nvPr/>
        </p:nvSpPr>
        <p:spPr>
          <a:xfrm>
            <a:off x="5064125" y="5638800"/>
            <a:ext cx="2063750" cy="508000"/>
          </a:xfrm>
          <a:prstGeom prst="leftRightArrow">
            <a:avLst>
              <a:gd name="adj1" fmla="val 100000"/>
              <a:gd name="adj2" fmla="val 50000"/>
            </a:avLst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lvl="0" algn="ctr"/>
            <a:r>
              <a:rPr lang="en-US" altLang="zh-CN" sz="2000" b="1">
                <a:solidFill>
                  <a:schemeClr val="bg1"/>
                </a:solidFill>
                <a:cs typeface="+mn-ea"/>
                <a:sym typeface="+mn-lt"/>
              </a:rPr>
              <a:t>Tex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>
                <a:solidFill>
                  <a:schemeClr val="bg1"/>
                </a:solidFill>
                <a:cs typeface="+mn-ea"/>
                <a:sym typeface="+mn-lt"/>
              </a:rPr>
              <a:t>t </a:t>
            </a: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here</a:t>
            </a:r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任意多边形: 形状 29"/>
          <p:cNvSpPr/>
          <p:nvPr/>
        </p:nvSpPr>
        <p:spPr bwMode="auto">
          <a:xfrm>
            <a:off x="1864915" y="1142999"/>
            <a:ext cx="1277938" cy="1463675"/>
          </a:xfrm>
          <a:custGeom>
            <a:avLst/>
            <a:gdLst>
              <a:gd name="T0" fmla="*/ 11023 w 13408"/>
              <a:gd name="T1" fmla="*/ 2385 h 15341"/>
              <a:gd name="T2" fmla="*/ 11023 w 13408"/>
              <a:gd name="T3" fmla="*/ 11022 h 15341"/>
              <a:gd name="T4" fmla="*/ 6704 w 13408"/>
              <a:gd name="T5" fmla="*/ 15341 h 15341"/>
              <a:gd name="T6" fmla="*/ 2386 w 13408"/>
              <a:gd name="T7" fmla="*/ 11022 h 15341"/>
              <a:gd name="T8" fmla="*/ 2386 w 13408"/>
              <a:gd name="T9" fmla="*/ 2385 h 15341"/>
              <a:gd name="T10" fmla="*/ 11023 w 13408"/>
              <a:gd name="T11" fmla="*/ 2385 h 15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408" h="15341">
                <a:moveTo>
                  <a:pt x="11023" y="2385"/>
                </a:moveTo>
                <a:cubicBezTo>
                  <a:pt x="13408" y="4770"/>
                  <a:pt x="13408" y="8637"/>
                  <a:pt x="11023" y="11022"/>
                </a:cubicBezTo>
                <a:cubicBezTo>
                  <a:pt x="9584" y="12462"/>
                  <a:pt x="8144" y="13902"/>
                  <a:pt x="6704" y="15341"/>
                </a:cubicBezTo>
                <a:cubicBezTo>
                  <a:pt x="5265" y="13902"/>
                  <a:pt x="3825" y="12462"/>
                  <a:pt x="2386" y="11022"/>
                </a:cubicBezTo>
                <a:cubicBezTo>
                  <a:pt x="0" y="8637"/>
                  <a:pt x="0" y="4770"/>
                  <a:pt x="2386" y="2385"/>
                </a:cubicBezTo>
                <a:cubicBezTo>
                  <a:pt x="4771" y="0"/>
                  <a:pt x="8638" y="0"/>
                  <a:pt x="11023" y="2385"/>
                </a:cubicBezTo>
              </a:path>
            </a:pathLst>
          </a:custGeom>
          <a:solidFill>
            <a:schemeClr val="bg1"/>
          </a:solidFill>
          <a:ln w="1587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椭圆 30"/>
          <p:cNvSpPr/>
          <p:nvPr/>
        </p:nvSpPr>
        <p:spPr>
          <a:xfrm>
            <a:off x="2027634" y="1328736"/>
            <a:ext cx="952500" cy="952500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/>
          <p:cNvSpPr/>
          <p:nvPr/>
        </p:nvSpPr>
        <p:spPr>
          <a:xfrm>
            <a:off x="2248233" y="1461293"/>
            <a:ext cx="511301" cy="687386"/>
          </a:xfrm>
          <a:custGeom>
            <a:avLst/>
            <a:gdLst>
              <a:gd name="T0" fmla="*/ 2721 w 4881"/>
              <a:gd name="T1" fmla="*/ 28 h 6573"/>
              <a:gd name="T2" fmla="*/ 2828 w 4881"/>
              <a:gd name="T3" fmla="*/ 377 h 6573"/>
              <a:gd name="T4" fmla="*/ 4525 w 4881"/>
              <a:gd name="T5" fmla="*/ 1512 h 6573"/>
              <a:gd name="T6" fmla="*/ 3391 w 4881"/>
              <a:gd name="T7" fmla="*/ 852 h 6573"/>
              <a:gd name="T8" fmla="*/ 2828 w 4881"/>
              <a:gd name="T9" fmla="*/ 1140 h 6573"/>
              <a:gd name="T10" fmla="*/ 1812 w 4881"/>
              <a:gd name="T11" fmla="*/ 676 h 6573"/>
              <a:gd name="T12" fmla="*/ 3063 w 4881"/>
              <a:gd name="T13" fmla="*/ 5897 h 6573"/>
              <a:gd name="T14" fmla="*/ 2047 w 4881"/>
              <a:gd name="T15" fmla="*/ 5433 h 6573"/>
              <a:gd name="T16" fmla="*/ 1484 w 4881"/>
              <a:gd name="T17" fmla="*/ 5721 h 6573"/>
              <a:gd name="T18" fmla="*/ 349 w 4881"/>
              <a:gd name="T19" fmla="*/ 5061 h 6573"/>
              <a:gd name="T20" fmla="*/ 2047 w 4881"/>
              <a:gd name="T21" fmla="*/ 6196 h 6573"/>
              <a:gd name="T22" fmla="*/ 2153 w 4881"/>
              <a:gd name="T23" fmla="*/ 6545 h 6573"/>
              <a:gd name="T24" fmla="*/ 3063 w 4881"/>
              <a:gd name="T25" fmla="*/ 5897 h 6573"/>
              <a:gd name="T26" fmla="*/ 3531 w 4881"/>
              <a:gd name="T27" fmla="*/ 3265 h 6573"/>
              <a:gd name="T28" fmla="*/ 4045 w 4881"/>
              <a:gd name="T29" fmla="*/ 3265 h 6573"/>
              <a:gd name="T30" fmla="*/ 1092 w 4881"/>
              <a:gd name="T31" fmla="*/ 3008 h 6573"/>
              <a:gd name="T32" fmla="*/ 1092 w 4881"/>
              <a:gd name="T33" fmla="*/ 3523 h 6573"/>
              <a:gd name="T34" fmla="*/ 1092 w 4881"/>
              <a:gd name="T35" fmla="*/ 3008 h 6573"/>
              <a:gd name="T36" fmla="*/ 4881 w 4881"/>
              <a:gd name="T37" fmla="*/ 4353 h 6573"/>
              <a:gd name="T38" fmla="*/ 423 w 4881"/>
              <a:gd name="T39" fmla="*/ 4776 h 6573"/>
              <a:gd name="T40" fmla="*/ 0 w 4881"/>
              <a:gd name="T41" fmla="*/ 2177 h 6573"/>
              <a:gd name="T42" fmla="*/ 4459 w 4881"/>
              <a:gd name="T43" fmla="*/ 1755 h 6573"/>
              <a:gd name="T44" fmla="*/ 4520 w 4881"/>
              <a:gd name="T45" fmla="*/ 2635 h 6573"/>
              <a:gd name="T46" fmla="*/ 3987 w 4881"/>
              <a:gd name="T47" fmla="*/ 2220 h 6573"/>
              <a:gd name="T48" fmla="*/ 856 w 4881"/>
              <a:gd name="T49" fmla="*/ 2116 h 6573"/>
              <a:gd name="T50" fmla="*/ 436 w 4881"/>
              <a:gd name="T51" fmla="*/ 2623 h 6573"/>
              <a:gd name="T52" fmla="*/ 361 w 4881"/>
              <a:gd name="T53" fmla="*/ 3916 h 6573"/>
              <a:gd name="T54" fmla="*/ 864 w 4881"/>
              <a:gd name="T55" fmla="*/ 4337 h 6573"/>
              <a:gd name="T56" fmla="*/ 3988 w 4881"/>
              <a:gd name="T57" fmla="*/ 4416 h 6573"/>
              <a:gd name="T58" fmla="*/ 4412 w 4881"/>
              <a:gd name="T59" fmla="*/ 3935 h 6573"/>
              <a:gd name="T60" fmla="*/ 4517 w 4881"/>
              <a:gd name="T61" fmla="*/ 2635 h 6573"/>
              <a:gd name="T62" fmla="*/ 3367 w 4881"/>
              <a:gd name="T63" fmla="*/ 3265 h 6573"/>
              <a:gd name="T64" fmla="*/ 1513 w 4881"/>
              <a:gd name="T65" fmla="*/ 3265 h 6573"/>
              <a:gd name="T66" fmla="*/ 3367 w 4881"/>
              <a:gd name="T67" fmla="*/ 3265 h 6573"/>
              <a:gd name="T68" fmla="*/ 2440 w 4881"/>
              <a:gd name="T69" fmla="*/ 2729 h 6573"/>
              <a:gd name="T70" fmla="*/ 2440 w 4881"/>
              <a:gd name="T71" fmla="*/ 3801 h 65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881" h="6573">
                <a:moveTo>
                  <a:pt x="1812" y="553"/>
                </a:moveTo>
                <a:lnTo>
                  <a:pt x="2721" y="28"/>
                </a:lnTo>
                <a:cubicBezTo>
                  <a:pt x="2769" y="0"/>
                  <a:pt x="2828" y="35"/>
                  <a:pt x="2828" y="89"/>
                </a:cubicBezTo>
                <a:lnTo>
                  <a:pt x="2828" y="377"/>
                </a:lnTo>
                <a:lnTo>
                  <a:pt x="3391" y="377"/>
                </a:lnTo>
                <a:cubicBezTo>
                  <a:pt x="4016" y="377"/>
                  <a:pt x="4525" y="887"/>
                  <a:pt x="4525" y="1512"/>
                </a:cubicBezTo>
                <a:lnTo>
                  <a:pt x="4051" y="1512"/>
                </a:lnTo>
                <a:cubicBezTo>
                  <a:pt x="4051" y="1148"/>
                  <a:pt x="3755" y="852"/>
                  <a:pt x="3391" y="852"/>
                </a:cubicBezTo>
                <a:lnTo>
                  <a:pt x="2828" y="852"/>
                </a:lnTo>
                <a:lnTo>
                  <a:pt x="2828" y="1140"/>
                </a:lnTo>
                <a:cubicBezTo>
                  <a:pt x="2828" y="1195"/>
                  <a:pt x="2769" y="1229"/>
                  <a:pt x="2721" y="1201"/>
                </a:cubicBezTo>
                <a:lnTo>
                  <a:pt x="1812" y="676"/>
                </a:lnTo>
                <a:cubicBezTo>
                  <a:pt x="1765" y="649"/>
                  <a:pt x="1765" y="580"/>
                  <a:pt x="1812" y="553"/>
                </a:cubicBezTo>
                <a:close/>
                <a:moveTo>
                  <a:pt x="3063" y="5897"/>
                </a:moveTo>
                <a:lnTo>
                  <a:pt x="2153" y="5372"/>
                </a:lnTo>
                <a:cubicBezTo>
                  <a:pt x="2105" y="5344"/>
                  <a:pt x="2047" y="5379"/>
                  <a:pt x="2047" y="5433"/>
                </a:cubicBezTo>
                <a:lnTo>
                  <a:pt x="2047" y="5721"/>
                </a:lnTo>
                <a:lnTo>
                  <a:pt x="1484" y="5721"/>
                </a:lnTo>
                <a:cubicBezTo>
                  <a:pt x="1120" y="5721"/>
                  <a:pt x="824" y="5425"/>
                  <a:pt x="824" y="5061"/>
                </a:cubicBezTo>
                <a:lnTo>
                  <a:pt x="349" y="5061"/>
                </a:lnTo>
                <a:cubicBezTo>
                  <a:pt x="349" y="5687"/>
                  <a:pt x="859" y="6196"/>
                  <a:pt x="1484" y="6196"/>
                </a:cubicBezTo>
                <a:lnTo>
                  <a:pt x="2047" y="6196"/>
                </a:lnTo>
                <a:lnTo>
                  <a:pt x="2047" y="6484"/>
                </a:lnTo>
                <a:cubicBezTo>
                  <a:pt x="2047" y="6539"/>
                  <a:pt x="2105" y="6573"/>
                  <a:pt x="2153" y="6545"/>
                </a:cubicBezTo>
                <a:lnTo>
                  <a:pt x="3063" y="6020"/>
                </a:lnTo>
                <a:cubicBezTo>
                  <a:pt x="3109" y="5993"/>
                  <a:pt x="3109" y="5924"/>
                  <a:pt x="3063" y="5897"/>
                </a:cubicBezTo>
                <a:close/>
                <a:moveTo>
                  <a:pt x="3788" y="3008"/>
                </a:moveTo>
                <a:cubicBezTo>
                  <a:pt x="3647" y="3008"/>
                  <a:pt x="3531" y="3123"/>
                  <a:pt x="3531" y="3265"/>
                </a:cubicBezTo>
                <a:cubicBezTo>
                  <a:pt x="3531" y="3407"/>
                  <a:pt x="3645" y="3523"/>
                  <a:pt x="3788" y="3523"/>
                </a:cubicBezTo>
                <a:cubicBezTo>
                  <a:pt x="3929" y="3523"/>
                  <a:pt x="4045" y="3408"/>
                  <a:pt x="4045" y="3265"/>
                </a:cubicBezTo>
                <a:cubicBezTo>
                  <a:pt x="4045" y="3123"/>
                  <a:pt x="3929" y="3008"/>
                  <a:pt x="3788" y="3008"/>
                </a:cubicBezTo>
                <a:close/>
                <a:moveTo>
                  <a:pt x="1092" y="3008"/>
                </a:moveTo>
                <a:cubicBezTo>
                  <a:pt x="951" y="3008"/>
                  <a:pt x="835" y="3123"/>
                  <a:pt x="835" y="3265"/>
                </a:cubicBezTo>
                <a:cubicBezTo>
                  <a:pt x="835" y="3407"/>
                  <a:pt x="949" y="3523"/>
                  <a:pt x="1092" y="3523"/>
                </a:cubicBezTo>
                <a:cubicBezTo>
                  <a:pt x="1233" y="3523"/>
                  <a:pt x="1349" y="3408"/>
                  <a:pt x="1349" y="3265"/>
                </a:cubicBezTo>
                <a:cubicBezTo>
                  <a:pt x="1349" y="3123"/>
                  <a:pt x="1233" y="3008"/>
                  <a:pt x="1092" y="3008"/>
                </a:cubicBezTo>
                <a:close/>
                <a:moveTo>
                  <a:pt x="4881" y="2177"/>
                </a:moveTo>
                <a:lnTo>
                  <a:pt x="4881" y="4353"/>
                </a:lnTo>
                <a:cubicBezTo>
                  <a:pt x="4881" y="4587"/>
                  <a:pt x="4692" y="4776"/>
                  <a:pt x="4459" y="4776"/>
                </a:cubicBezTo>
                <a:lnTo>
                  <a:pt x="423" y="4776"/>
                </a:lnTo>
                <a:cubicBezTo>
                  <a:pt x="189" y="4776"/>
                  <a:pt x="0" y="4587"/>
                  <a:pt x="0" y="4353"/>
                </a:cubicBezTo>
                <a:lnTo>
                  <a:pt x="0" y="2177"/>
                </a:lnTo>
                <a:cubicBezTo>
                  <a:pt x="0" y="1944"/>
                  <a:pt x="189" y="1755"/>
                  <a:pt x="423" y="1755"/>
                </a:cubicBezTo>
                <a:lnTo>
                  <a:pt x="4459" y="1755"/>
                </a:lnTo>
                <a:cubicBezTo>
                  <a:pt x="4691" y="1753"/>
                  <a:pt x="4881" y="1944"/>
                  <a:pt x="4881" y="2177"/>
                </a:cubicBezTo>
                <a:close/>
                <a:moveTo>
                  <a:pt x="4520" y="2635"/>
                </a:moveTo>
                <a:cubicBezTo>
                  <a:pt x="4487" y="2643"/>
                  <a:pt x="4451" y="2648"/>
                  <a:pt x="4415" y="2648"/>
                </a:cubicBezTo>
                <a:cubicBezTo>
                  <a:pt x="4179" y="2648"/>
                  <a:pt x="3987" y="2456"/>
                  <a:pt x="3987" y="2220"/>
                </a:cubicBezTo>
                <a:cubicBezTo>
                  <a:pt x="3987" y="2184"/>
                  <a:pt x="3991" y="2149"/>
                  <a:pt x="4000" y="2116"/>
                </a:cubicBezTo>
                <a:lnTo>
                  <a:pt x="856" y="2116"/>
                </a:lnTo>
                <a:cubicBezTo>
                  <a:pt x="861" y="2141"/>
                  <a:pt x="864" y="2168"/>
                  <a:pt x="864" y="2195"/>
                </a:cubicBezTo>
                <a:cubicBezTo>
                  <a:pt x="864" y="2431"/>
                  <a:pt x="672" y="2623"/>
                  <a:pt x="436" y="2623"/>
                </a:cubicBezTo>
                <a:cubicBezTo>
                  <a:pt x="411" y="2623"/>
                  <a:pt x="385" y="2620"/>
                  <a:pt x="361" y="2616"/>
                </a:cubicBezTo>
                <a:lnTo>
                  <a:pt x="361" y="3916"/>
                </a:lnTo>
                <a:cubicBezTo>
                  <a:pt x="385" y="3912"/>
                  <a:pt x="411" y="3909"/>
                  <a:pt x="436" y="3909"/>
                </a:cubicBezTo>
                <a:cubicBezTo>
                  <a:pt x="672" y="3909"/>
                  <a:pt x="864" y="4101"/>
                  <a:pt x="864" y="4337"/>
                </a:cubicBezTo>
                <a:cubicBezTo>
                  <a:pt x="864" y="4364"/>
                  <a:pt x="861" y="4391"/>
                  <a:pt x="856" y="4416"/>
                </a:cubicBezTo>
                <a:lnTo>
                  <a:pt x="3988" y="4416"/>
                </a:lnTo>
                <a:cubicBezTo>
                  <a:pt x="3985" y="4399"/>
                  <a:pt x="3984" y="4381"/>
                  <a:pt x="3984" y="4363"/>
                </a:cubicBezTo>
                <a:cubicBezTo>
                  <a:pt x="3984" y="4127"/>
                  <a:pt x="4176" y="3935"/>
                  <a:pt x="4412" y="3935"/>
                </a:cubicBezTo>
                <a:cubicBezTo>
                  <a:pt x="4448" y="3935"/>
                  <a:pt x="4484" y="3940"/>
                  <a:pt x="4517" y="3948"/>
                </a:cubicBezTo>
                <a:lnTo>
                  <a:pt x="4517" y="2635"/>
                </a:lnTo>
                <a:lnTo>
                  <a:pt x="4520" y="2635"/>
                </a:lnTo>
                <a:close/>
                <a:moveTo>
                  <a:pt x="3367" y="3265"/>
                </a:moveTo>
                <a:cubicBezTo>
                  <a:pt x="3367" y="3777"/>
                  <a:pt x="2952" y="4192"/>
                  <a:pt x="2440" y="4192"/>
                </a:cubicBezTo>
                <a:cubicBezTo>
                  <a:pt x="1928" y="4192"/>
                  <a:pt x="1513" y="3777"/>
                  <a:pt x="1513" y="3265"/>
                </a:cubicBezTo>
                <a:cubicBezTo>
                  <a:pt x="1513" y="2753"/>
                  <a:pt x="1928" y="2339"/>
                  <a:pt x="2440" y="2339"/>
                </a:cubicBezTo>
                <a:cubicBezTo>
                  <a:pt x="2952" y="2339"/>
                  <a:pt x="3367" y="2753"/>
                  <a:pt x="3367" y="3265"/>
                </a:cubicBezTo>
                <a:close/>
                <a:moveTo>
                  <a:pt x="2976" y="3265"/>
                </a:moveTo>
                <a:cubicBezTo>
                  <a:pt x="2976" y="2969"/>
                  <a:pt x="2735" y="2729"/>
                  <a:pt x="2440" y="2729"/>
                </a:cubicBezTo>
                <a:cubicBezTo>
                  <a:pt x="2144" y="2729"/>
                  <a:pt x="1904" y="2971"/>
                  <a:pt x="1904" y="3265"/>
                </a:cubicBezTo>
                <a:cubicBezTo>
                  <a:pt x="1904" y="3561"/>
                  <a:pt x="2145" y="3801"/>
                  <a:pt x="2440" y="3801"/>
                </a:cubicBezTo>
                <a:cubicBezTo>
                  <a:pt x="2736" y="3801"/>
                  <a:pt x="2976" y="3561"/>
                  <a:pt x="2976" y="3265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7" name="文本框 26"/>
          <p:cNvSpPr txBox="1"/>
          <p:nvPr/>
        </p:nvSpPr>
        <p:spPr bwMode="auto">
          <a:xfrm>
            <a:off x="1237059" y="2808286"/>
            <a:ext cx="25336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i="1">
                <a:cs typeface="+mn-ea"/>
                <a:sym typeface="+mn-lt"/>
              </a:rPr>
              <a:t>Tex</a:t>
            </a:r>
            <a:r>
              <a:rPr lang="en-US" altLang="zh-CN" sz="100" i="1">
                <a:cs typeface="+mn-ea"/>
                <a:sym typeface="+mn-lt"/>
              </a:rPr>
              <a:t> </a:t>
            </a:r>
            <a:r>
              <a:rPr lang="en-US" altLang="zh-CN" i="1">
                <a:cs typeface="+mn-ea"/>
                <a:sym typeface="+mn-lt"/>
              </a:rPr>
              <a:t>t </a:t>
            </a:r>
            <a:r>
              <a:rPr lang="en-US" altLang="zh-CN" i="1" dirty="0">
                <a:cs typeface="+mn-ea"/>
                <a:sym typeface="+mn-lt"/>
              </a:rPr>
              <a:t>here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1237059" y="3354818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1237059" y="4002169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24" name="任意多边形: 形状 23"/>
          <p:cNvSpPr/>
          <p:nvPr/>
        </p:nvSpPr>
        <p:spPr bwMode="auto">
          <a:xfrm>
            <a:off x="5457032" y="1142999"/>
            <a:ext cx="1277938" cy="1463675"/>
          </a:xfrm>
          <a:custGeom>
            <a:avLst/>
            <a:gdLst>
              <a:gd name="T0" fmla="*/ 11023 w 13408"/>
              <a:gd name="T1" fmla="*/ 2385 h 15341"/>
              <a:gd name="T2" fmla="*/ 11023 w 13408"/>
              <a:gd name="T3" fmla="*/ 11022 h 15341"/>
              <a:gd name="T4" fmla="*/ 6704 w 13408"/>
              <a:gd name="T5" fmla="*/ 15341 h 15341"/>
              <a:gd name="T6" fmla="*/ 2386 w 13408"/>
              <a:gd name="T7" fmla="*/ 11022 h 15341"/>
              <a:gd name="T8" fmla="*/ 2386 w 13408"/>
              <a:gd name="T9" fmla="*/ 2385 h 15341"/>
              <a:gd name="T10" fmla="*/ 11023 w 13408"/>
              <a:gd name="T11" fmla="*/ 2385 h 15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408" h="15341">
                <a:moveTo>
                  <a:pt x="11023" y="2385"/>
                </a:moveTo>
                <a:cubicBezTo>
                  <a:pt x="13408" y="4770"/>
                  <a:pt x="13408" y="8637"/>
                  <a:pt x="11023" y="11022"/>
                </a:cubicBezTo>
                <a:cubicBezTo>
                  <a:pt x="9584" y="12462"/>
                  <a:pt x="8144" y="13902"/>
                  <a:pt x="6704" y="15341"/>
                </a:cubicBezTo>
                <a:cubicBezTo>
                  <a:pt x="5265" y="13902"/>
                  <a:pt x="3825" y="12462"/>
                  <a:pt x="2386" y="11022"/>
                </a:cubicBezTo>
                <a:cubicBezTo>
                  <a:pt x="0" y="8637"/>
                  <a:pt x="0" y="4770"/>
                  <a:pt x="2386" y="2385"/>
                </a:cubicBezTo>
                <a:cubicBezTo>
                  <a:pt x="4771" y="0"/>
                  <a:pt x="8638" y="0"/>
                  <a:pt x="11023" y="2385"/>
                </a:cubicBezTo>
              </a:path>
            </a:pathLst>
          </a:custGeom>
          <a:solidFill>
            <a:schemeClr val="bg1"/>
          </a:solidFill>
          <a:ln w="15875">
            <a:solidFill>
              <a:schemeClr val="accent1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椭圆 24"/>
          <p:cNvSpPr/>
          <p:nvPr/>
        </p:nvSpPr>
        <p:spPr>
          <a:xfrm>
            <a:off x="5619751" y="1328736"/>
            <a:ext cx="952500" cy="952500"/>
          </a:xfrm>
          <a:prstGeom prst="ellipse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6" name="任意多边形: 形状 25"/>
          <p:cNvSpPr/>
          <p:nvPr/>
        </p:nvSpPr>
        <p:spPr>
          <a:xfrm>
            <a:off x="5798197" y="1530348"/>
            <a:ext cx="595608" cy="549276"/>
          </a:xfrm>
          <a:custGeom>
            <a:avLst/>
            <a:gdLst>
              <a:gd name="connsiteX0" fmla="*/ 392435 w 609156"/>
              <a:gd name="connsiteY0" fmla="*/ 452324 h 561771"/>
              <a:gd name="connsiteX1" fmla="*/ 427863 w 609156"/>
              <a:gd name="connsiteY1" fmla="*/ 452324 h 561771"/>
              <a:gd name="connsiteX2" fmla="*/ 435435 w 609156"/>
              <a:gd name="connsiteY2" fmla="*/ 459885 h 561771"/>
              <a:gd name="connsiteX3" fmla="*/ 435435 w 609156"/>
              <a:gd name="connsiteY3" fmla="*/ 474634 h 561771"/>
              <a:gd name="connsiteX4" fmla="*/ 435435 w 609156"/>
              <a:gd name="connsiteY4" fmla="*/ 539321 h 561771"/>
              <a:gd name="connsiteX5" fmla="*/ 435435 w 609156"/>
              <a:gd name="connsiteY5" fmla="*/ 553976 h 561771"/>
              <a:gd name="connsiteX6" fmla="*/ 427863 w 609156"/>
              <a:gd name="connsiteY6" fmla="*/ 561630 h 561771"/>
              <a:gd name="connsiteX7" fmla="*/ 392435 w 609156"/>
              <a:gd name="connsiteY7" fmla="*/ 561630 h 561771"/>
              <a:gd name="connsiteX8" fmla="*/ 384863 w 609156"/>
              <a:gd name="connsiteY8" fmla="*/ 553976 h 561771"/>
              <a:gd name="connsiteX9" fmla="*/ 384863 w 609156"/>
              <a:gd name="connsiteY9" fmla="*/ 539321 h 561771"/>
              <a:gd name="connsiteX10" fmla="*/ 384863 w 609156"/>
              <a:gd name="connsiteY10" fmla="*/ 474634 h 561771"/>
              <a:gd name="connsiteX11" fmla="*/ 384863 w 609156"/>
              <a:gd name="connsiteY11" fmla="*/ 459885 h 561771"/>
              <a:gd name="connsiteX12" fmla="*/ 392435 w 609156"/>
              <a:gd name="connsiteY12" fmla="*/ 452324 h 561771"/>
              <a:gd name="connsiteX13" fmla="*/ 464152 w 609156"/>
              <a:gd name="connsiteY13" fmla="*/ 409985 h 561771"/>
              <a:gd name="connsiteX14" fmla="*/ 499488 w 609156"/>
              <a:gd name="connsiteY14" fmla="*/ 409985 h 561771"/>
              <a:gd name="connsiteX15" fmla="*/ 507153 w 609156"/>
              <a:gd name="connsiteY15" fmla="*/ 417551 h 561771"/>
              <a:gd name="connsiteX16" fmla="*/ 507153 w 609156"/>
              <a:gd name="connsiteY16" fmla="*/ 474622 h 561771"/>
              <a:gd name="connsiteX17" fmla="*/ 507153 w 609156"/>
              <a:gd name="connsiteY17" fmla="*/ 496853 h 561771"/>
              <a:gd name="connsiteX18" fmla="*/ 507153 w 609156"/>
              <a:gd name="connsiteY18" fmla="*/ 553923 h 561771"/>
              <a:gd name="connsiteX19" fmla="*/ 499488 w 609156"/>
              <a:gd name="connsiteY19" fmla="*/ 561489 h 561771"/>
              <a:gd name="connsiteX20" fmla="*/ 464152 w 609156"/>
              <a:gd name="connsiteY20" fmla="*/ 561489 h 561771"/>
              <a:gd name="connsiteX21" fmla="*/ 456487 w 609156"/>
              <a:gd name="connsiteY21" fmla="*/ 553923 h 561771"/>
              <a:gd name="connsiteX22" fmla="*/ 456487 w 609156"/>
              <a:gd name="connsiteY22" fmla="*/ 496853 h 561771"/>
              <a:gd name="connsiteX23" fmla="*/ 456487 w 609156"/>
              <a:gd name="connsiteY23" fmla="*/ 474622 h 561771"/>
              <a:gd name="connsiteX24" fmla="*/ 456487 w 609156"/>
              <a:gd name="connsiteY24" fmla="*/ 417551 h 561771"/>
              <a:gd name="connsiteX25" fmla="*/ 464152 w 609156"/>
              <a:gd name="connsiteY25" fmla="*/ 409985 h 561771"/>
              <a:gd name="connsiteX26" fmla="*/ 553539 w 609156"/>
              <a:gd name="connsiteY26" fmla="*/ 277886 h 561771"/>
              <a:gd name="connsiteX27" fmla="*/ 558399 w 609156"/>
              <a:gd name="connsiteY27" fmla="*/ 280594 h 561771"/>
              <a:gd name="connsiteX28" fmla="*/ 608220 w 609156"/>
              <a:gd name="connsiteY28" fmla="*/ 360717 h 561771"/>
              <a:gd name="connsiteX29" fmla="*/ 603359 w 609156"/>
              <a:gd name="connsiteY29" fmla="*/ 369402 h 561771"/>
              <a:gd name="connsiteX30" fmla="*/ 578776 w 609156"/>
              <a:gd name="connsiteY30" fmla="*/ 369402 h 561771"/>
              <a:gd name="connsiteX31" fmla="*/ 578776 w 609156"/>
              <a:gd name="connsiteY31" fmla="*/ 429074 h 561771"/>
              <a:gd name="connsiteX32" fmla="*/ 578776 w 609156"/>
              <a:gd name="connsiteY32" fmla="*/ 432529 h 561771"/>
              <a:gd name="connsiteX33" fmla="*/ 578776 w 609156"/>
              <a:gd name="connsiteY33" fmla="*/ 554674 h 561771"/>
              <a:gd name="connsiteX34" fmla="*/ 571205 w 609156"/>
              <a:gd name="connsiteY34" fmla="*/ 561771 h 561771"/>
              <a:gd name="connsiteX35" fmla="*/ 535779 w 609156"/>
              <a:gd name="connsiteY35" fmla="*/ 561771 h 561771"/>
              <a:gd name="connsiteX36" fmla="*/ 528208 w 609156"/>
              <a:gd name="connsiteY36" fmla="*/ 554207 h 561771"/>
              <a:gd name="connsiteX37" fmla="*/ 528208 w 609156"/>
              <a:gd name="connsiteY37" fmla="*/ 369495 h 561771"/>
              <a:gd name="connsiteX38" fmla="*/ 503625 w 609156"/>
              <a:gd name="connsiteY38" fmla="*/ 369495 h 561771"/>
              <a:gd name="connsiteX39" fmla="*/ 498764 w 609156"/>
              <a:gd name="connsiteY39" fmla="*/ 360717 h 561771"/>
              <a:gd name="connsiteX40" fmla="*/ 548678 w 609156"/>
              <a:gd name="connsiteY40" fmla="*/ 280594 h 561771"/>
              <a:gd name="connsiteX41" fmla="*/ 553539 w 609156"/>
              <a:gd name="connsiteY41" fmla="*/ 277886 h 561771"/>
              <a:gd name="connsiteX42" fmla="*/ 248743 w 609156"/>
              <a:gd name="connsiteY42" fmla="*/ 0 h 561771"/>
              <a:gd name="connsiteX43" fmla="*/ 260245 w 609156"/>
              <a:gd name="connsiteY43" fmla="*/ 0 h 561771"/>
              <a:gd name="connsiteX44" fmla="*/ 271654 w 609156"/>
              <a:gd name="connsiteY44" fmla="*/ 0 h 561771"/>
              <a:gd name="connsiteX45" fmla="*/ 368159 w 609156"/>
              <a:gd name="connsiteY45" fmla="*/ 96367 h 561771"/>
              <a:gd name="connsiteX46" fmla="*/ 368159 w 609156"/>
              <a:gd name="connsiteY46" fmla="*/ 203287 h 561771"/>
              <a:gd name="connsiteX47" fmla="*/ 346651 w 609156"/>
              <a:gd name="connsiteY47" fmla="*/ 243440 h 561771"/>
              <a:gd name="connsiteX48" fmla="*/ 346651 w 609156"/>
              <a:gd name="connsiteY48" fmla="*/ 346532 h 561771"/>
              <a:gd name="connsiteX49" fmla="*/ 349269 w 609156"/>
              <a:gd name="connsiteY49" fmla="*/ 351014 h 561771"/>
              <a:gd name="connsiteX50" fmla="*/ 440257 w 609156"/>
              <a:gd name="connsiteY50" fmla="*/ 403493 h 561771"/>
              <a:gd name="connsiteX51" fmla="*/ 436236 w 609156"/>
              <a:gd name="connsiteY51" fmla="*/ 417687 h 561771"/>
              <a:gd name="connsiteX52" fmla="*/ 436236 w 609156"/>
              <a:gd name="connsiteY52" fmla="*/ 433748 h 561771"/>
              <a:gd name="connsiteX53" fmla="*/ 427820 w 609156"/>
              <a:gd name="connsiteY53" fmla="*/ 432441 h 561771"/>
              <a:gd name="connsiteX54" fmla="*/ 392378 w 609156"/>
              <a:gd name="connsiteY54" fmla="*/ 432441 h 561771"/>
              <a:gd name="connsiteX55" fmla="*/ 364699 w 609156"/>
              <a:gd name="connsiteY55" fmla="*/ 460081 h 561771"/>
              <a:gd name="connsiteX56" fmla="*/ 364699 w 609156"/>
              <a:gd name="connsiteY56" fmla="*/ 474742 h 561771"/>
              <a:gd name="connsiteX57" fmla="*/ 364699 w 609156"/>
              <a:gd name="connsiteY57" fmla="*/ 539454 h 561771"/>
              <a:gd name="connsiteX58" fmla="*/ 364699 w 609156"/>
              <a:gd name="connsiteY58" fmla="*/ 554207 h 561771"/>
              <a:gd name="connsiteX59" fmla="*/ 365821 w 609156"/>
              <a:gd name="connsiteY59" fmla="*/ 561771 h 561771"/>
              <a:gd name="connsiteX60" fmla="*/ 294471 w 609156"/>
              <a:gd name="connsiteY60" fmla="*/ 561771 h 561771"/>
              <a:gd name="connsiteX61" fmla="*/ 272215 w 609156"/>
              <a:gd name="connsiteY61" fmla="*/ 459521 h 561771"/>
              <a:gd name="connsiteX62" fmla="*/ 260339 w 609156"/>
              <a:gd name="connsiteY62" fmla="*/ 393595 h 561771"/>
              <a:gd name="connsiteX63" fmla="*/ 248463 w 609156"/>
              <a:gd name="connsiteY63" fmla="*/ 459521 h 561771"/>
              <a:gd name="connsiteX64" fmla="*/ 226207 w 609156"/>
              <a:gd name="connsiteY64" fmla="*/ 561771 h 561771"/>
              <a:gd name="connsiteX65" fmla="*/ 0 w 609156"/>
              <a:gd name="connsiteY65" fmla="*/ 561771 h 561771"/>
              <a:gd name="connsiteX66" fmla="*/ 0 w 609156"/>
              <a:gd name="connsiteY66" fmla="*/ 488468 h 561771"/>
              <a:gd name="connsiteX67" fmla="*/ 18796 w 609156"/>
              <a:gd name="connsiteY67" fmla="*/ 448315 h 561771"/>
              <a:gd name="connsiteX68" fmla="*/ 171221 w 609156"/>
              <a:gd name="connsiteY68" fmla="*/ 350734 h 561771"/>
              <a:gd name="connsiteX69" fmla="*/ 173840 w 609156"/>
              <a:gd name="connsiteY69" fmla="*/ 346532 h 561771"/>
              <a:gd name="connsiteX70" fmla="*/ 173840 w 609156"/>
              <a:gd name="connsiteY70" fmla="*/ 243440 h 561771"/>
              <a:gd name="connsiteX71" fmla="*/ 152238 w 609156"/>
              <a:gd name="connsiteY71" fmla="*/ 203287 h 561771"/>
              <a:gd name="connsiteX72" fmla="*/ 152238 w 609156"/>
              <a:gd name="connsiteY72" fmla="*/ 96367 h 561771"/>
              <a:gd name="connsiteX73" fmla="*/ 248743 w 609156"/>
              <a:gd name="connsiteY73" fmla="*/ 0 h 56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09156" h="561771">
                <a:moveTo>
                  <a:pt x="392435" y="452324"/>
                </a:moveTo>
                <a:lnTo>
                  <a:pt x="427863" y="452324"/>
                </a:lnTo>
                <a:cubicBezTo>
                  <a:pt x="432070" y="452324"/>
                  <a:pt x="435529" y="455685"/>
                  <a:pt x="435435" y="459885"/>
                </a:cubicBezTo>
                <a:lnTo>
                  <a:pt x="435435" y="474634"/>
                </a:lnTo>
                <a:lnTo>
                  <a:pt x="435435" y="539321"/>
                </a:lnTo>
                <a:lnTo>
                  <a:pt x="435435" y="553976"/>
                </a:lnTo>
                <a:cubicBezTo>
                  <a:pt x="435435" y="558270"/>
                  <a:pt x="432070" y="561630"/>
                  <a:pt x="427863" y="561630"/>
                </a:cubicBezTo>
                <a:lnTo>
                  <a:pt x="392435" y="561630"/>
                </a:lnTo>
                <a:cubicBezTo>
                  <a:pt x="388228" y="561630"/>
                  <a:pt x="384863" y="558270"/>
                  <a:pt x="384863" y="553976"/>
                </a:cubicBezTo>
                <a:lnTo>
                  <a:pt x="384863" y="539321"/>
                </a:lnTo>
                <a:lnTo>
                  <a:pt x="384863" y="474634"/>
                </a:lnTo>
                <a:lnTo>
                  <a:pt x="384863" y="459885"/>
                </a:lnTo>
                <a:cubicBezTo>
                  <a:pt x="384863" y="455685"/>
                  <a:pt x="388228" y="452324"/>
                  <a:pt x="392435" y="452324"/>
                </a:cubicBezTo>
                <a:close/>
                <a:moveTo>
                  <a:pt x="464152" y="409985"/>
                </a:moveTo>
                <a:lnTo>
                  <a:pt x="499488" y="409985"/>
                </a:lnTo>
                <a:cubicBezTo>
                  <a:pt x="503788" y="409985"/>
                  <a:pt x="507153" y="413348"/>
                  <a:pt x="507153" y="417551"/>
                </a:cubicBezTo>
                <a:lnTo>
                  <a:pt x="507153" y="474622"/>
                </a:lnTo>
                <a:lnTo>
                  <a:pt x="507153" y="496853"/>
                </a:lnTo>
                <a:lnTo>
                  <a:pt x="507153" y="553923"/>
                </a:lnTo>
                <a:cubicBezTo>
                  <a:pt x="507153" y="558127"/>
                  <a:pt x="503788" y="561489"/>
                  <a:pt x="499488" y="561489"/>
                </a:cubicBezTo>
                <a:lnTo>
                  <a:pt x="464152" y="561489"/>
                </a:lnTo>
                <a:cubicBezTo>
                  <a:pt x="459852" y="561489"/>
                  <a:pt x="456487" y="558127"/>
                  <a:pt x="456487" y="553923"/>
                </a:cubicBezTo>
                <a:lnTo>
                  <a:pt x="456487" y="496853"/>
                </a:lnTo>
                <a:lnTo>
                  <a:pt x="456487" y="474622"/>
                </a:lnTo>
                <a:lnTo>
                  <a:pt x="456487" y="417551"/>
                </a:lnTo>
                <a:cubicBezTo>
                  <a:pt x="456487" y="413348"/>
                  <a:pt x="459852" y="409985"/>
                  <a:pt x="464152" y="409985"/>
                </a:cubicBezTo>
                <a:close/>
                <a:moveTo>
                  <a:pt x="553539" y="277886"/>
                </a:moveTo>
                <a:cubicBezTo>
                  <a:pt x="555408" y="277886"/>
                  <a:pt x="557277" y="278727"/>
                  <a:pt x="558399" y="280594"/>
                </a:cubicBezTo>
                <a:lnTo>
                  <a:pt x="608220" y="360717"/>
                </a:lnTo>
                <a:cubicBezTo>
                  <a:pt x="610743" y="364546"/>
                  <a:pt x="607846" y="369495"/>
                  <a:pt x="603359" y="369402"/>
                </a:cubicBezTo>
                <a:lnTo>
                  <a:pt x="578776" y="369402"/>
                </a:lnTo>
                <a:lnTo>
                  <a:pt x="578776" y="429074"/>
                </a:lnTo>
                <a:lnTo>
                  <a:pt x="578776" y="432529"/>
                </a:lnTo>
                <a:lnTo>
                  <a:pt x="578776" y="554674"/>
                </a:lnTo>
                <a:cubicBezTo>
                  <a:pt x="578589" y="558690"/>
                  <a:pt x="575224" y="561771"/>
                  <a:pt x="571205" y="561771"/>
                </a:cubicBezTo>
                <a:lnTo>
                  <a:pt x="535779" y="561771"/>
                </a:lnTo>
                <a:cubicBezTo>
                  <a:pt x="531573" y="561771"/>
                  <a:pt x="528208" y="558409"/>
                  <a:pt x="528208" y="554207"/>
                </a:cubicBezTo>
                <a:lnTo>
                  <a:pt x="528208" y="369495"/>
                </a:lnTo>
                <a:lnTo>
                  <a:pt x="503625" y="369495"/>
                </a:lnTo>
                <a:cubicBezTo>
                  <a:pt x="499138" y="369495"/>
                  <a:pt x="496427" y="364546"/>
                  <a:pt x="498764" y="360717"/>
                </a:cubicBezTo>
                <a:lnTo>
                  <a:pt x="548678" y="280594"/>
                </a:lnTo>
                <a:cubicBezTo>
                  <a:pt x="549800" y="278727"/>
                  <a:pt x="551669" y="277886"/>
                  <a:pt x="553539" y="277886"/>
                </a:cubicBezTo>
                <a:close/>
                <a:moveTo>
                  <a:pt x="248743" y="0"/>
                </a:moveTo>
                <a:lnTo>
                  <a:pt x="260245" y="0"/>
                </a:lnTo>
                <a:lnTo>
                  <a:pt x="271654" y="0"/>
                </a:lnTo>
                <a:cubicBezTo>
                  <a:pt x="325049" y="0"/>
                  <a:pt x="368159" y="43234"/>
                  <a:pt x="368159" y="96367"/>
                </a:cubicBezTo>
                <a:lnTo>
                  <a:pt x="368159" y="203287"/>
                </a:lnTo>
                <a:cubicBezTo>
                  <a:pt x="368159" y="220002"/>
                  <a:pt x="359555" y="234849"/>
                  <a:pt x="346651" y="243440"/>
                </a:cubicBezTo>
                <a:lnTo>
                  <a:pt x="346651" y="346532"/>
                </a:lnTo>
                <a:cubicBezTo>
                  <a:pt x="346651" y="348399"/>
                  <a:pt x="347586" y="349987"/>
                  <a:pt x="349269" y="351014"/>
                </a:cubicBezTo>
                <a:cubicBezTo>
                  <a:pt x="359368" y="355869"/>
                  <a:pt x="396399" y="374545"/>
                  <a:pt x="440257" y="403493"/>
                </a:cubicBezTo>
                <a:cubicBezTo>
                  <a:pt x="437732" y="407602"/>
                  <a:pt x="436236" y="412457"/>
                  <a:pt x="436236" y="417687"/>
                </a:cubicBezTo>
                <a:lnTo>
                  <a:pt x="436236" y="433748"/>
                </a:lnTo>
                <a:cubicBezTo>
                  <a:pt x="433617" y="432908"/>
                  <a:pt x="430812" y="432441"/>
                  <a:pt x="427820" y="432441"/>
                </a:cubicBezTo>
                <a:lnTo>
                  <a:pt x="392378" y="432441"/>
                </a:lnTo>
                <a:cubicBezTo>
                  <a:pt x="377136" y="432441"/>
                  <a:pt x="364699" y="444767"/>
                  <a:pt x="364699" y="460081"/>
                </a:cubicBezTo>
                <a:lnTo>
                  <a:pt x="364699" y="474742"/>
                </a:lnTo>
                <a:lnTo>
                  <a:pt x="364699" y="539454"/>
                </a:lnTo>
                <a:lnTo>
                  <a:pt x="364699" y="554207"/>
                </a:lnTo>
                <a:cubicBezTo>
                  <a:pt x="364699" y="556822"/>
                  <a:pt x="365073" y="559250"/>
                  <a:pt x="365821" y="561771"/>
                </a:cubicBezTo>
                <a:lnTo>
                  <a:pt x="294471" y="561771"/>
                </a:lnTo>
                <a:lnTo>
                  <a:pt x="272215" y="459521"/>
                </a:lnTo>
                <a:cubicBezTo>
                  <a:pt x="317288" y="396676"/>
                  <a:pt x="268848" y="393688"/>
                  <a:pt x="260339" y="393595"/>
                </a:cubicBezTo>
                <a:cubicBezTo>
                  <a:pt x="251829" y="393688"/>
                  <a:pt x="203390" y="396676"/>
                  <a:pt x="248463" y="459521"/>
                </a:cubicBezTo>
                <a:lnTo>
                  <a:pt x="226207" y="561771"/>
                </a:lnTo>
                <a:lnTo>
                  <a:pt x="0" y="561771"/>
                </a:lnTo>
                <a:lnTo>
                  <a:pt x="0" y="488468"/>
                </a:lnTo>
                <a:cubicBezTo>
                  <a:pt x="0" y="472874"/>
                  <a:pt x="6826" y="458213"/>
                  <a:pt x="18796" y="448315"/>
                </a:cubicBezTo>
                <a:cubicBezTo>
                  <a:pt x="85190" y="393968"/>
                  <a:pt x="156633" y="357830"/>
                  <a:pt x="171221" y="350734"/>
                </a:cubicBezTo>
                <a:cubicBezTo>
                  <a:pt x="172811" y="349987"/>
                  <a:pt x="173840" y="348399"/>
                  <a:pt x="173840" y="346532"/>
                </a:cubicBezTo>
                <a:lnTo>
                  <a:pt x="173840" y="243440"/>
                </a:lnTo>
                <a:cubicBezTo>
                  <a:pt x="160841" y="234849"/>
                  <a:pt x="152238" y="220095"/>
                  <a:pt x="152238" y="203287"/>
                </a:cubicBezTo>
                <a:lnTo>
                  <a:pt x="152238" y="96367"/>
                </a:lnTo>
                <a:cubicBezTo>
                  <a:pt x="152238" y="43048"/>
                  <a:pt x="195534" y="0"/>
                  <a:pt x="248743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文本框 19"/>
          <p:cNvSpPr txBox="1"/>
          <p:nvPr/>
        </p:nvSpPr>
        <p:spPr bwMode="auto">
          <a:xfrm>
            <a:off x="4829176" y="2808286"/>
            <a:ext cx="25336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i="1">
                <a:cs typeface="+mn-ea"/>
                <a:sym typeface="+mn-lt"/>
              </a:rPr>
              <a:t>Tex</a:t>
            </a:r>
            <a:r>
              <a:rPr lang="en-US" altLang="zh-CN" sz="100" i="1">
                <a:cs typeface="+mn-ea"/>
                <a:sym typeface="+mn-lt"/>
              </a:rPr>
              <a:t> </a:t>
            </a:r>
            <a:r>
              <a:rPr lang="en-US" altLang="zh-CN" i="1">
                <a:cs typeface="+mn-ea"/>
                <a:sym typeface="+mn-lt"/>
              </a:rPr>
              <a:t>t </a:t>
            </a:r>
            <a:r>
              <a:rPr lang="en-US" altLang="zh-CN" i="1" dirty="0">
                <a:cs typeface="+mn-ea"/>
                <a:sym typeface="+mn-lt"/>
              </a:rPr>
              <a:t>her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4829176" y="3354818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4829176" y="4002169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4829176" y="4649520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9049148" y="1142999"/>
            <a:ext cx="1277938" cy="1463675"/>
          </a:xfrm>
          <a:custGeom>
            <a:avLst/>
            <a:gdLst>
              <a:gd name="T0" fmla="*/ 11023 w 13408"/>
              <a:gd name="T1" fmla="*/ 2385 h 15341"/>
              <a:gd name="T2" fmla="*/ 11023 w 13408"/>
              <a:gd name="T3" fmla="*/ 11022 h 15341"/>
              <a:gd name="T4" fmla="*/ 6704 w 13408"/>
              <a:gd name="T5" fmla="*/ 15341 h 15341"/>
              <a:gd name="T6" fmla="*/ 2386 w 13408"/>
              <a:gd name="T7" fmla="*/ 11022 h 15341"/>
              <a:gd name="T8" fmla="*/ 2386 w 13408"/>
              <a:gd name="T9" fmla="*/ 2385 h 15341"/>
              <a:gd name="T10" fmla="*/ 11023 w 13408"/>
              <a:gd name="T11" fmla="*/ 2385 h 153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3408" h="15341">
                <a:moveTo>
                  <a:pt x="11023" y="2385"/>
                </a:moveTo>
                <a:cubicBezTo>
                  <a:pt x="13408" y="4770"/>
                  <a:pt x="13408" y="8637"/>
                  <a:pt x="11023" y="11022"/>
                </a:cubicBezTo>
                <a:cubicBezTo>
                  <a:pt x="9584" y="12462"/>
                  <a:pt x="8144" y="13902"/>
                  <a:pt x="6704" y="15341"/>
                </a:cubicBezTo>
                <a:cubicBezTo>
                  <a:pt x="5265" y="13902"/>
                  <a:pt x="3825" y="12462"/>
                  <a:pt x="2386" y="11022"/>
                </a:cubicBezTo>
                <a:cubicBezTo>
                  <a:pt x="0" y="8637"/>
                  <a:pt x="0" y="4770"/>
                  <a:pt x="2386" y="2385"/>
                </a:cubicBezTo>
                <a:cubicBezTo>
                  <a:pt x="4771" y="0"/>
                  <a:pt x="8638" y="0"/>
                  <a:pt x="11023" y="2385"/>
                </a:cubicBezTo>
              </a:path>
            </a:pathLst>
          </a:custGeom>
          <a:solidFill>
            <a:schemeClr val="bg1"/>
          </a:solidFill>
          <a:ln w="15875">
            <a:solidFill>
              <a:schemeClr val="accent2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椭圆 17"/>
          <p:cNvSpPr/>
          <p:nvPr/>
        </p:nvSpPr>
        <p:spPr>
          <a:xfrm>
            <a:off x="9211867" y="1328736"/>
            <a:ext cx="952500" cy="952500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>
          <a:xfrm>
            <a:off x="9407671" y="1511300"/>
            <a:ext cx="560892" cy="587374"/>
          </a:xfrm>
          <a:custGeom>
            <a:avLst/>
            <a:gdLst>
              <a:gd name="connsiteX0" fmla="*/ 446809 w 560501"/>
              <a:gd name="connsiteY0" fmla="*/ 409068 h 586963"/>
              <a:gd name="connsiteX1" fmla="*/ 454547 w 560501"/>
              <a:gd name="connsiteY1" fmla="*/ 416800 h 586963"/>
              <a:gd name="connsiteX2" fmla="*/ 454547 w 560501"/>
              <a:gd name="connsiteY2" fmla="*/ 423021 h 586963"/>
              <a:gd name="connsiteX3" fmla="*/ 469046 w 560501"/>
              <a:gd name="connsiteY3" fmla="*/ 425065 h 586963"/>
              <a:gd name="connsiteX4" fmla="*/ 475539 w 560501"/>
              <a:gd name="connsiteY4" fmla="*/ 436174 h 586963"/>
              <a:gd name="connsiteX5" fmla="*/ 475361 w 560501"/>
              <a:gd name="connsiteY5" fmla="*/ 436797 h 586963"/>
              <a:gd name="connsiteX6" fmla="*/ 471269 w 560501"/>
              <a:gd name="connsiteY6" fmla="*/ 442129 h 586963"/>
              <a:gd name="connsiteX7" fmla="*/ 464510 w 560501"/>
              <a:gd name="connsiteY7" fmla="*/ 442929 h 586963"/>
              <a:gd name="connsiteX8" fmla="*/ 450100 w 560501"/>
              <a:gd name="connsiteY8" fmla="*/ 440796 h 586963"/>
              <a:gd name="connsiteX9" fmla="*/ 436491 w 560501"/>
              <a:gd name="connsiteY9" fmla="*/ 449683 h 586963"/>
              <a:gd name="connsiteX10" fmla="*/ 455526 w 560501"/>
              <a:gd name="connsiteY10" fmla="*/ 463281 h 586963"/>
              <a:gd name="connsiteX11" fmla="*/ 482032 w 560501"/>
              <a:gd name="connsiteY11" fmla="*/ 492964 h 586963"/>
              <a:gd name="connsiteX12" fmla="*/ 453747 w 560501"/>
              <a:gd name="connsiteY12" fmla="*/ 522381 h 586963"/>
              <a:gd name="connsiteX13" fmla="*/ 453747 w 560501"/>
              <a:gd name="connsiteY13" fmla="*/ 530735 h 586963"/>
              <a:gd name="connsiteX14" fmla="*/ 446009 w 560501"/>
              <a:gd name="connsiteY14" fmla="*/ 538556 h 586963"/>
              <a:gd name="connsiteX15" fmla="*/ 438270 w 560501"/>
              <a:gd name="connsiteY15" fmla="*/ 530735 h 586963"/>
              <a:gd name="connsiteX16" fmla="*/ 438270 w 560501"/>
              <a:gd name="connsiteY16" fmla="*/ 523448 h 586963"/>
              <a:gd name="connsiteX17" fmla="*/ 420036 w 560501"/>
              <a:gd name="connsiteY17" fmla="*/ 520337 h 586963"/>
              <a:gd name="connsiteX18" fmla="*/ 413365 w 560501"/>
              <a:gd name="connsiteY18" fmla="*/ 508339 h 586963"/>
              <a:gd name="connsiteX19" fmla="*/ 413543 w 560501"/>
              <a:gd name="connsiteY19" fmla="*/ 507806 h 586963"/>
              <a:gd name="connsiteX20" fmla="*/ 417724 w 560501"/>
              <a:gd name="connsiteY20" fmla="*/ 502385 h 586963"/>
              <a:gd name="connsiteX21" fmla="*/ 424572 w 560501"/>
              <a:gd name="connsiteY21" fmla="*/ 501852 h 586963"/>
              <a:gd name="connsiteX22" fmla="*/ 442362 w 560501"/>
              <a:gd name="connsiteY22" fmla="*/ 505051 h 586963"/>
              <a:gd name="connsiteX23" fmla="*/ 457572 w 560501"/>
              <a:gd name="connsiteY23" fmla="*/ 495186 h 586963"/>
              <a:gd name="connsiteX24" fmla="*/ 440761 w 560501"/>
              <a:gd name="connsiteY24" fmla="*/ 481411 h 586963"/>
              <a:gd name="connsiteX25" fmla="*/ 412209 w 560501"/>
              <a:gd name="connsiteY25" fmla="*/ 452349 h 586963"/>
              <a:gd name="connsiteX26" fmla="*/ 438982 w 560501"/>
              <a:gd name="connsiteY26" fmla="*/ 424088 h 586963"/>
              <a:gd name="connsiteX27" fmla="*/ 438982 w 560501"/>
              <a:gd name="connsiteY27" fmla="*/ 416800 h 586963"/>
              <a:gd name="connsiteX28" fmla="*/ 446809 w 560501"/>
              <a:gd name="connsiteY28" fmla="*/ 409068 h 586963"/>
              <a:gd name="connsiteX29" fmla="*/ 447093 w 560501"/>
              <a:gd name="connsiteY29" fmla="*/ 399133 h 586963"/>
              <a:gd name="connsiteX30" fmla="*/ 372407 w 560501"/>
              <a:gd name="connsiteY30" fmla="*/ 473767 h 586963"/>
              <a:gd name="connsiteX31" fmla="*/ 447093 w 560501"/>
              <a:gd name="connsiteY31" fmla="*/ 548402 h 586963"/>
              <a:gd name="connsiteX32" fmla="*/ 521867 w 560501"/>
              <a:gd name="connsiteY32" fmla="*/ 473767 h 586963"/>
              <a:gd name="connsiteX33" fmla="*/ 447093 w 560501"/>
              <a:gd name="connsiteY33" fmla="*/ 399133 h 586963"/>
              <a:gd name="connsiteX34" fmla="*/ 165311 w 560501"/>
              <a:gd name="connsiteY34" fmla="*/ 379995 h 586963"/>
              <a:gd name="connsiteX35" fmla="*/ 179728 w 560501"/>
              <a:gd name="connsiteY35" fmla="*/ 392971 h 586963"/>
              <a:gd name="connsiteX36" fmla="*/ 209808 w 560501"/>
              <a:gd name="connsiteY36" fmla="*/ 448254 h 586963"/>
              <a:gd name="connsiteX37" fmla="*/ 250212 w 560501"/>
              <a:gd name="connsiteY37" fmla="*/ 465586 h 586963"/>
              <a:gd name="connsiteX38" fmla="*/ 240778 w 560501"/>
              <a:gd name="connsiteY38" fmla="*/ 433856 h 586963"/>
              <a:gd name="connsiteX39" fmla="*/ 242024 w 560501"/>
              <a:gd name="connsiteY39" fmla="*/ 427012 h 586963"/>
              <a:gd name="connsiteX40" fmla="*/ 248966 w 560501"/>
              <a:gd name="connsiteY40" fmla="*/ 426657 h 586963"/>
              <a:gd name="connsiteX41" fmla="*/ 316156 w 560501"/>
              <a:gd name="connsiteY41" fmla="*/ 473851 h 586963"/>
              <a:gd name="connsiteX42" fmla="*/ 321407 w 560501"/>
              <a:gd name="connsiteY42" fmla="*/ 484161 h 586963"/>
              <a:gd name="connsiteX43" fmla="*/ 315622 w 560501"/>
              <a:gd name="connsiteY43" fmla="*/ 494116 h 586963"/>
              <a:gd name="connsiteX44" fmla="*/ 245584 w 560501"/>
              <a:gd name="connsiteY44" fmla="*/ 537133 h 586963"/>
              <a:gd name="connsiteX45" fmla="*/ 238731 w 560501"/>
              <a:gd name="connsiteY45" fmla="*/ 536422 h 586963"/>
              <a:gd name="connsiteX46" fmla="*/ 237841 w 560501"/>
              <a:gd name="connsiteY46" fmla="*/ 529489 h 586963"/>
              <a:gd name="connsiteX47" fmla="*/ 251013 w 560501"/>
              <a:gd name="connsiteY47" fmla="*/ 495004 h 586963"/>
              <a:gd name="connsiteX48" fmla="*/ 191653 w 560501"/>
              <a:gd name="connsiteY48" fmla="*/ 470741 h 586963"/>
              <a:gd name="connsiteX49" fmla="*/ 150894 w 560501"/>
              <a:gd name="connsiteY49" fmla="*/ 395993 h 586963"/>
              <a:gd name="connsiteX50" fmla="*/ 163798 w 560501"/>
              <a:gd name="connsiteY50" fmla="*/ 380084 h 586963"/>
              <a:gd name="connsiteX51" fmla="*/ 165311 w 560501"/>
              <a:gd name="connsiteY51" fmla="*/ 379995 h 586963"/>
              <a:gd name="connsiteX52" fmla="*/ 447093 w 560501"/>
              <a:gd name="connsiteY52" fmla="*/ 360660 h 586963"/>
              <a:gd name="connsiteX53" fmla="*/ 560501 w 560501"/>
              <a:gd name="connsiteY53" fmla="*/ 473767 h 586963"/>
              <a:gd name="connsiteX54" fmla="*/ 447093 w 560501"/>
              <a:gd name="connsiteY54" fmla="*/ 586963 h 586963"/>
              <a:gd name="connsiteX55" fmla="*/ 333774 w 560501"/>
              <a:gd name="connsiteY55" fmla="*/ 473767 h 586963"/>
              <a:gd name="connsiteX56" fmla="*/ 447093 w 560501"/>
              <a:gd name="connsiteY56" fmla="*/ 360660 h 586963"/>
              <a:gd name="connsiteX57" fmla="*/ 99451 w 560501"/>
              <a:gd name="connsiteY57" fmla="*/ 239217 h 586963"/>
              <a:gd name="connsiteX58" fmla="*/ 106128 w 560501"/>
              <a:gd name="connsiteY58" fmla="*/ 245881 h 586963"/>
              <a:gd name="connsiteX59" fmla="*/ 106128 w 560501"/>
              <a:gd name="connsiteY59" fmla="*/ 251213 h 586963"/>
              <a:gd name="connsiteX60" fmla="*/ 118502 w 560501"/>
              <a:gd name="connsiteY60" fmla="*/ 252990 h 586963"/>
              <a:gd name="connsiteX61" fmla="*/ 124110 w 560501"/>
              <a:gd name="connsiteY61" fmla="*/ 262498 h 586963"/>
              <a:gd name="connsiteX62" fmla="*/ 123932 w 560501"/>
              <a:gd name="connsiteY62" fmla="*/ 262942 h 586963"/>
              <a:gd name="connsiteX63" fmla="*/ 120371 w 560501"/>
              <a:gd name="connsiteY63" fmla="*/ 267563 h 586963"/>
              <a:gd name="connsiteX64" fmla="*/ 114674 w 560501"/>
              <a:gd name="connsiteY64" fmla="*/ 268185 h 586963"/>
              <a:gd name="connsiteX65" fmla="*/ 102300 w 560501"/>
              <a:gd name="connsiteY65" fmla="*/ 266407 h 586963"/>
              <a:gd name="connsiteX66" fmla="*/ 90639 w 560501"/>
              <a:gd name="connsiteY66" fmla="*/ 273960 h 586963"/>
              <a:gd name="connsiteX67" fmla="*/ 106929 w 560501"/>
              <a:gd name="connsiteY67" fmla="*/ 285601 h 586963"/>
              <a:gd name="connsiteX68" fmla="*/ 129629 w 560501"/>
              <a:gd name="connsiteY68" fmla="*/ 311014 h 586963"/>
              <a:gd name="connsiteX69" fmla="*/ 105416 w 560501"/>
              <a:gd name="connsiteY69" fmla="*/ 336072 h 586963"/>
              <a:gd name="connsiteX70" fmla="*/ 105416 w 560501"/>
              <a:gd name="connsiteY70" fmla="*/ 343270 h 586963"/>
              <a:gd name="connsiteX71" fmla="*/ 98828 w 560501"/>
              <a:gd name="connsiteY71" fmla="*/ 349934 h 586963"/>
              <a:gd name="connsiteX72" fmla="*/ 92152 w 560501"/>
              <a:gd name="connsiteY72" fmla="*/ 343270 h 586963"/>
              <a:gd name="connsiteX73" fmla="*/ 92152 w 560501"/>
              <a:gd name="connsiteY73" fmla="*/ 337049 h 586963"/>
              <a:gd name="connsiteX74" fmla="*/ 76573 w 560501"/>
              <a:gd name="connsiteY74" fmla="*/ 334384 h 586963"/>
              <a:gd name="connsiteX75" fmla="*/ 70876 w 560501"/>
              <a:gd name="connsiteY75" fmla="*/ 324165 h 586963"/>
              <a:gd name="connsiteX76" fmla="*/ 70965 w 560501"/>
              <a:gd name="connsiteY76" fmla="*/ 323632 h 586963"/>
              <a:gd name="connsiteX77" fmla="*/ 74615 w 560501"/>
              <a:gd name="connsiteY77" fmla="*/ 319011 h 586963"/>
              <a:gd name="connsiteX78" fmla="*/ 80401 w 560501"/>
              <a:gd name="connsiteY78" fmla="*/ 318567 h 586963"/>
              <a:gd name="connsiteX79" fmla="*/ 95713 w 560501"/>
              <a:gd name="connsiteY79" fmla="*/ 321322 h 586963"/>
              <a:gd name="connsiteX80" fmla="*/ 108709 w 560501"/>
              <a:gd name="connsiteY80" fmla="*/ 312880 h 586963"/>
              <a:gd name="connsiteX81" fmla="*/ 94288 w 560501"/>
              <a:gd name="connsiteY81" fmla="*/ 301062 h 586963"/>
              <a:gd name="connsiteX82" fmla="*/ 69897 w 560501"/>
              <a:gd name="connsiteY82" fmla="*/ 276271 h 586963"/>
              <a:gd name="connsiteX83" fmla="*/ 92775 w 560501"/>
              <a:gd name="connsiteY83" fmla="*/ 252101 h 586963"/>
              <a:gd name="connsiteX84" fmla="*/ 92775 w 560501"/>
              <a:gd name="connsiteY84" fmla="*/ 245881 h 586963"/>
              <a:gd name="connsiteX85" fmla="*/ 99451 w 560501"/>
              <a:gd name="connsiteY85" fmla="*/ 239217 h 586963"/>
              <a:gd name="connsiteX86" fmla="*/ 99699 w 560501"/>
              <a:gd name="connsiteY86" fmla="*/ 233523 h 586963"/>
              <a:gd name="connsiteX87" fmla="*/ 38634 w 560501"/>
              <a:gd name="connsiteY87" fmla="*/ 294575 h 586963"/>
              <a:gd name="connsiteX88" fmla="*/ 99699 w 560501"/>
              <a:gd name="connsiteY88" fmla="*/ 355628 h 586963"/>
              <a:gd name="connsiteX89" fmla="*/ 160854 w 560501"/>
              <a:gd name="connsiteY89" fmla="*/ 294575 h 586963"/>
              <a:gd name="connsiteX90" fmla="*/ 99699 w 560501"/>
              <a:gd name="connsiteY90" fmla="*/ 233523 h 586963"/>
              <a:gd name="connsiteX91" fmla="*/ 99699 w 560501"/>
              <a:gd name="connsiteY91" fmla="*/ 195043 h 586963"/>
              <a:gd name="connsiteX92" fmla="*/ 199488 w 560501"/>
              <a:gd name="connsiteY92" fmla="*/ 294575 h 586963"/>
              <a:gd name="connsiteX93" fmla="*/ 99699 w 560501"/>
              <a:gd name="connsiteY93" fmla="*/ 394108 h 586963"/>
              <a:gd name="connsiteX94" fmla="*/ 0 w 560501"/>
              <a:gd name="connsiteY94" fmla="*/ 294575 h 586963"/>
              <a:gd name="connsiteX95" fmla="*/ 99699 w 560501"/>
              <a:gd name="connsiteY95" fmla="*/ 195043 h 586963"/>
              <a:gd name="connsiteX96" fmla="*/ 245584 w 560501"/>
              <a:gd name="connsiteY96" fmla="*/ 50676 h 586963"/>
              <a:gd name="connsiteX97" fmla="*/ 315622 w 560501"/>
              <a:gd name="connsiteY97" fmla="*/ 93675 h 586963"/>
              <a:gd name="connsiteX98" fmla="*/ 321407 w 560501"/>
              <a:gd name="connsiteY98" fmla="*/ 103625 h 586963"/>
              <a:gd name="connsiteX99" fmla="*/ 316156 w 560501"/>
              <a:gd name="connsiteY99" fmla="*/ 113930 h 586963"/>
              <a:gd name="connsiteX100" fmla="*/ 248966 w 560501"/>
              <a:gd name="connsiteY100" fmla="*/ 161104 h 586963"/>
              <a:gd name="connsiteX101" fmla="*/ 242024 w 560501"/>
              <a:gd name="connsiteY101" fmla="*/ 160749 h 586963"/>
              <a:gd name="connsiteX102" fmla="*/ 240778 w 560501"/>
              <a:gd name="connsiteY102" fmla="*/ 153908 h 586963"/>
              <a:gd name="connsiteX103" fmla="*/ 250212 w 560501"/>
              <a:gd name="connsiteY103" fmla="*/ 122192 h 586963"/>
              <a:gd name="connsiteX104" fmla="*/ 209808 w 560501"/>
              <a:gd name="connsiteY104" fmla="*/ 139516 h 586963"/>
              <a:gd name="connsiteX105" fmla="*/ 179728 w 560501"/>
              <a:gd name="connsiteY105" fmla="*/ 194863 h 586963"/>
              <a:gd name="connsiteX106" fmla="*/ 165311 w 560501"/>
              <a:gd name="connsiteY106" fmla="*/ 207745 h 586963"/>
              <a:gd name="connsiteX107" fmla="*/ 163798 w 560501"/>
              <a:gd name="connsiteY107" fmla="*/ 207656 h 586963"/>
              <a:gd name="connsiteX108" fmla="*/ 150894 w 560501"/>
              <a:gd name="connsiteY108" fmla="*/ 191754 h 586963"/>
              <a:gd name="connsiteX109" fmla="*/ 191653 w 560501"/>
              <a:gd name="connsiteY109" fmla="*/ 117040 h 586963"/>
              <a:gd name="connsiteX110" fmla="*/ 251013 w 560501"/>
              <a:gd name="connsiteY110" fmla="*/ 92786 h 586963"/>
              <a:gd name="connsiteX111" fmla="*/ 237841 w 560501"/>
              <a:gd name="connsiteY111" fmla="*/ 58317 h 586963"/>
              <a:gd name="connsiteX112" fmla="*/ 238731 w 560501"/>
              <a:gd name="connsiteY112" fmla="*/ 51387 h 586963"/>
              <a:gd name="connsiteX113" fmla="*/ 245584 w 560501"/>
              <a:gd name="connsiteY113" fmla="*/ 50676 h 586963"/>
              <a:gd name="connsiteX114" fmla="*/ 446809 w 560501"/>
              <a:gd name="connsiteY114" fmla="*/ 48408 h 586963"/>
              <a:gd name="connsiteX115" fmla="*/ 454547 w 560501"/>
              <a:gd name="connsiteY115" fmla="*/ 56140 h 586963"/>
              <a:gd name="connsiteX116" fmla="*/ 454547 w 560501"/>
              <a:gd name="connsiteY116" fmla="*/ 62361 h 586963"/>
              <a:gd name="connsiteX117" fmla="*/ 469046 w 560501"/>
              <a:gd name="connsiteY117" fmla="*/ 64494 h 586963"/>
              <a:gd name="connsiteX118" fmla="*/ 475539 w 560501"/>
              <a:gd name="connsiteY118" fmla="*/ 75603 h 586963"/>
              <a:gd name="connsiteX119" fmla="*/ 475272 w 560501"/>
              <a:gd name="connsiteY119" fmla="*/ 76669 h 586963"/>
              <a:gd name="connsiteX120" fmla="*/ 471358 w 560501"/>
              <a:gd name="connsiteY120" fmla="*/ 81735 h 586963"/>
              <a:gd name="connsiteX121" fmla="*/ 465043 w 560501"/>
              <a:gd name="connsiteY121" fmla="*/ 82446 h 586963"/>
              <a:gd name="connsiteX122" fmla="*/ 450100 w 560501"/>
              <a:gd name="connsiteY122" fmla="*/ 80136 h 586963"/>
              <a:gd name="connsiteX123" fmla="*/ 436491 w 560501"/>
              <a:gd name="connsiteY123" fmla="*/ 89023 h 586963"/>
              <a:gd name="connsiteX124" fmla="*/ 455526 w 560501"/>
              <a:gd name="connsiteY124" fmla="*/ 102709 h 586963"/>
              <a:gd name="connsiteX125" fmla="*/ 482032 w 560501"/>
              <a:gd name="connsiteY125" fmla="*/ 132393 h 586963"/>
              <a:gd name="connsiteX126" fmla="*/ 453747 w 560501"/>
              <a:gd name="connsiteY126" fmla="*/ 161721 h 586963"/>
              <a:gd name="connsiteX127" fmla="*/ 453747 w 560501"/>
              <a:gd name="connsiteY127" fmla="*/ 170075 h 586963"/>
              <a:gd name="connsiteX128" fmla="*/ 446009 w 560501"/>
              <a:gd name="connsiteY128" fmla="*/ 177896 h 586963"/>
              <a:gd name="connsiteX129" fmla="*/ 438270 w 560501"/>
              <a:gd name="connsiteY129" fmla="*/ 170164 h 586963"/>
              <a:gd name="connsiteX130" fmla="*/ 438270 w 560501"/>
              <a:gd name="connsiteY130" fmla="*/ 162787 h 586963"/>
              <a:gd name="connsiteX131" fmla="*/ 420036 w 560501"/>
              <a:gd name="connsiteY131" fmla="*/ 159677 h 586963"/>
              <a:gd name="connsiteX132" fmla="*/ 413365 w 560501"/>
              <a:gd name="connsiteY132" fmla="*/ 147679 h 586963"/>
              <a:gd name="connsiteX133" fmla="*/ 413543 w 560501"/>
              <a:gd name="connsiteY133" fmla="*/ 147146 h 586963"/>
              <a:gd name="connsiteX134" fmla="*/ 417724 w 560501"/>
              <a:gd name="connsiteY134" fmla="*/ 141725 h 586963"/>
              <a:gd name="connsiteX135" fmla="*/ 424572 w 560501"/>
              <a:gd name="connsiteY135" fmla="*/ 141191 h 586963"/>
              <a:gd name="connsiteX136" fmla="*/ 442362 w 560501"/>
              <a:gd name="connsiteY136" fmla="*/ 144391 h 586963"/>
              <a:gd name="connsiteX137" fmla="*/ 457572 w 560501"/>
              <a:gd name="connsiteY137" fmla="*/ 134526 h 586963"/>
              <a:gd name="connsiteX138" fmla="*/ 440761 w 560501"/>
              <a:gd name="connsiteY138" fmla="*/ 120751 h 586963"/>
              <a:gd name="connsiteX139" fmla="*/ 412209 w 560501"/>
              <a:gd name="connsiteY139" fmla="*/ 91689 h 586963"/>
              <a:gd name="connsiteX140" fmla="*/ 438982 w 560501"/>
              <a:gd name="connsiteY140" fmla="*/ 63516 h 586963"/>
              <a:gd name="connsiteX141" fmla="*/ 438982 w 560501"/>
              <a:gd name="connsiteY141" fmla="*/ 56140 h 586963"/>
              <a:gd name="connsiteX142" fmla="*/ 446809 w 560501"/>
              <a:gd name="connsiteY142" fmla="*/ 48408 h 586963"/>
              <a:gd name="connsiteX143" fmla="*/ 447093 w 560501"/>
              <a:gd name="connsiteY143" fmla="*/ 38573 h 586963"/>
              <a:gd name="connsiteX144" fmla="*/ 372407 w 560501"/>
              <a:gd name="connsiteY144" fmla="*/ 113142 h 586963"/>
              <a:gd name="connsiteX145" fmla="*/ 447093 w 560501"/>
              <a:gd name="connsiteY145" fmla="*/ 187801 h 586963"/>
              <a:gd name="connsiteX146" fmla="*/ 521867 w 560501"/>
              <a:gd name="connsiteY146" fmla="*/ 113142 h 586963"/>
              <a:gd name="connsiteX147" fmla="*/ 447093 w 560501"/>
              <a:gd name="connsiteY147" fmla="*/ 38573 h 586963"/>
              <a:gd name="connsiteX148" fmla="*/ 447093 w 560501"/>
              <a:gd name="connsiteY148" fmla="*/ 0 h 586963"/>
              <a:gd name="connsiteX149" fmla="*/ 560501 w 560501"/>
              <a:gd name="connsiteY149" fmla="*/ 113231 h 586963"/>
              <a:gd name="connsiteX150" fmla="*/ 447093 w 560501"/>
              <a:gd name="connsiteY150" fmla="*/ 226374 h 586963"/>
              <a:gd name="connsiteX151" fmla="*/ 333774 w 560501"/>
              <a:gd name="connsiteY151" fmla="*/ 113231 h 586963"/>
              <a:gd name="connsiteX152" fmla="*/ 447093 w 560501"/>
              <a:gd name="connsiteY152" fmla="*/ 0 h 58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560501" h="586963">
                <a:moveTo>
                  <a:pt x="446809" y="409068"/>
                </a:moveTo>
                <a:cubicBezTo>
                  <a:pt x="451079" y="409068"/>
                  <a:pt x="454547" y="412534"/>
                  <a:pt x="454547" y="416800"/>
                </a:cubicBezTo>
                <a:lnTo>
                  <a:pt x="454547" y="423021"/>
                </a:lnTo>
                <a:cubicBezTo>
                  <a:pt x="460329" y="423288"/>
                  <a:pt x="465043" y="423999"/>
                  <a:pt x="469046" y="425065"/>
                </a:cubicBezTo>
                <a:cubicBezTo>
                  <a:pt x="473849" y="426398"/>
                  <a:pt x="476784" y="431375"/>
                  <a:pt x="475539" y="436174"/>
                </a:cubicBezTo>
                <a:lnTo>
                  <a:pt x="475361" y="436797"/>
                </a:lnTo>
                <a:cubicBezTo>
                  <a:pt x="474827" y="439107"/>
                  <a:pt x="473315" y="440974"/>
                  <a:pt x="471269" y="442129"/>
                </a:cubicBezTo>
                <a:cubicBezTo>
                  <a:pt x="469224" y="443284"/>
                  <a:pt x="466822" y="443551"/>
                  <a:pt x="464510" y="442929"/>
                </a:cubicBezTo>
                <a:cubicBezTo>
                  <a:pt x="460685" y="441685"/>
                  <a:pt x="455971" y="440796"/>
                  <a:pt x="450100" y="440796"/>
                </a:cubicBezTo>
                <a:cubicBezTo>
                  <a:pt x="439782" y="440796"/>
                  <a:pt x="436491" y="445239"/>
                  <a:pt x="436491" y="449683"/>
                </a:cubicBezTo>
                <a:cubicBezTo>
                  <a:pt x="436491" y="454927"/>
                  <a:pt x="442006" y="458215"/>
                  <a:pt x="455526" y="463281"/>
                </a:cubicBezTo>
                <a:cubicBezTo>
                  <a:pt x="474472" y="469946"/>
                  <a:pt x="482032" y="478745"/>
                  <a:pt x="482032" y="492964"/>
                </a:cubicBezTo>
                <a:cubicBezTo>
                  <a:pt x="482032" y="507095"/>
                  <a:pt x="472070" y="519182"/>
                  <a:pt x="453747" y="522381"/>
                </a:cubicBezTo>
                <a:lnTo>
                  <a:pt x="453747" y="530735"/>
                </a:lnTo>
                <a:cubicBezTo>
                  <a:pt x="453747" y="535001"/>
                  <a:pt x="450278" y="538556"/>
                  <a:pt x="446009" y="538556"/>
                </a:cubicBezTo>
                <a:cubicBezTo>
                  <a:pt x="441650" y="538556"/>
                  <a:pt x="438270" y="535090"/>
                  <a:pt x="438270" y="530735"/>
                </a:cubicBezTo>
                <a:lnTo>
                  <a:pt x="438270" y="523448"/>
                </a:lnTo>
                <a:cubicBezTo>
                  <a:pt x="431777" y="523181"/>
                  <a:pt x="425373" y="521937"/>
                  <a:pt x="420036" y="520337"/>
                </a:cubicBezTo>
                <a:cubicBezTo>
                  <a:pt x="414966" y="518737"/>
                  <a:pt x="412031" y="513494"/>
                  <a:pt x="413365" y="508339"/>
                </a:cubicBezTo>
                <a:lnTo>
                  <a:pt x="413543" y="507806"/>
                </a:lnTo>
                <a:cubicBezTo>
                  <a:pt x="414077" y="505495"/>
                  <a:pt x="415589" y="503540"/>
                  <a:pt x="417724" y="502385"/>
                </a:cubicBezTo>
                <a:cubicBezTo>
                  <a:pt x="419858" y="501318"/>
                  <a:pt x="422260" y="501052"/>
                  <a:pt x="424572" y="501852"/>
                </a:cubicBezTo>
                <a:cubicBezTo>
                  <a:pt x="429820" y="503718"/>
                  <a:pt x="435869" y="505051"/>
                  <a:pt x="442362" y="505051"/>
                </a:cubicBezTo>
                <a:cubicBezTo>
                  <a:pt x="451345" y="505051"/>
                  <a:pt x="457572" y="501585"/>
                  <a:pt x="457572" y="495186"/>
                </a:cubicBezTo>
                <a:cubicBezTo>
                  <a:pt x="457572" y="489143"/>
                  <a:pt x="452502" y="485410"/>
                  <a:pt x="440761" y="481411"/>
                </a:cubicBezTo>
                <a:cubicBezTo>
                  <a:pt x="423772" y="475634"/>
                  <a:pt x="412209" y="467724"/>
                  <a:pt x="412209" y="452349"/>
                </a:cubicBezTo>
                <a:cubicBezTo>
                  <a:pt x="412209" y="438396"/>
                  <a:pt x="421993" y="427465"/>
                  <a:pt x="438982" y="424088"/>
                </a:cubicBezTo>
                <a:lnTo>
                  <a:pt x="438982" y="416800"/>
                </a:lnTo>
                <a:cubicBezTo>
                  <a:pt x="438982" y="412534"/>
                  <a:pt x="442451" y="409068"/>
                  <a:pt x="446809" y="409068"/>
                </a:cubicBezTo>
                <a:close/>
                <a:moveTo>
                  <a:pt x="447093" y="399133"/>
                </a:moveTo>
                <a:cubicBezTo>
                  <a:pt x="405967" y="399133"/>
                  <a:pt x="372407" y="432629"/>
                  <a:pt x="372407" y="473767"/>
                </a:cubicBezTo>
                <a:cubicBezTo>
                  <a:pt x="372407" y="514905"/>
                  <a:pt x="405967" y="548402"/>
                  <a:pt x="447093" y="548402"/>
                </a:cubicBezTo>
                <a:cubicBezTo>
                  <a:pt x="488308" y="548402"/>
                  <a:pt x="521867" y="514905"/>
                  <a:pt x="521867" y="473767"/>
                </a:cubicBezTo>
                <a:cubicBezTo>
                  <a:pt x="521867" y="432629"/>
                  <a:pt x="488308" y="399133"/>
                  <a:pt x="447093" y="399133"/>
                </a:cubicBezTo>
                <a:close/>
                <a:moveTo>
                  <a:pt x="165311" y="379995"/>
                </a:moveTo>
                <a:cubicBezTo>
                  <a:pt x="172698" y="379995"/>
                  <a:pt x="178927" y="385506"/>
                  <a:pt x="179728" y="392971"/>
                </a:cubicBezTo>
                <a:cubicBezTo>
                  <a:pt x="182042" y="414836"/>
                  <a:pt x="192721" y="434478"/>
                  <a:pt x="209808" y="448254"/>
                </a:cubicBezTo>
                <a:cubicBezTo>
                  <a:pt x="221644" y="457764"/>
                  <a:pt x="235528" y="463541"/>
                  <a:pt x="250212" y="465586"/>
                </a:cubicBezTo>
                <a:cubicBezTo>
                  <a:pt x="250212" y="465586"/>
                  <a:pt x="245050" y="447010"/>
                  <a:pt x="240778" y="433856"/>
                </a:cubicBezTo>
                <a:cubicBezTo>
                  <a:pt x="239977" y="431456"/>
                  <a:pt x="240155" y="428790"/>
                  <a:pt x="242024" y="427012"/>
                </a:cubicBezTo>
                <a:cubicBezTo>
                  <a:pt x="243982" y="425323"/>
                  <a:pt x="246830" y="425146"/>
                  <a:pt x="248966" y="426657"/>
                </a:cubicBezTo>
                <a:lnTo>
                  <a:pt x="316156" y="473851"/>
                </a:lnTo>
                <a:cubicBezTo>
                  <a:pt x="319538" y="476251"/>
                  <a:pt x="321496" y="480073"/>
                  <a:pt x="321407" y="484161"/>
                </a:cubicBezTo>
                <a:cubicBezTo>
                  <a:pt x="321229" y="488250"/>
                  <a:pt x="319004" y="491983"/>
                  <a:pt x="315622" y="494116"/>
                </a:cubicBezTo>
                <a:lnTo>
                  <a:pt x="245584" y="537133"/>
                </a:lnTo>
                <a:cubicBezTo>
                  <a:pt x="243448" y="538555"/>
                  <a:pt x="240511" y="538200"/>
                  <a:pt x="238731" y="536422"/>
                </a:cubicBezTo>
                <a:cubicBezTo>
                  <a:pt x="236862" y="534556"/>
                  <a:pt x="236862" y="531889"/>
                  <a:pt x="237841" y="529489"/>
                </a:cubicBezTo>
                <a:cubicBezTo>
                  <a:pt x="245940" y="509136"/>
                  <a:pt x="251013" y="495004"/>
                  <a:pt x="251013" y="495004"/>
                </a:cubicBezTo>
                <a:cubicBezTo>
                  <a:pt x="229387" y="492960"/>
                  <a:pt x="208918" y="484695"/>
                  <a:pt x="191653" y="470741"/>
                </a:cubicBezTo>
                <a:cubicBezTo>
                  <a:pt x="168515" y="452076"/>
                  <a:pt x="154009" y="425501"/>
                  <a:pt x="150894" y="395993"/>
                </a:cubicBezTo>
                <a:cubicBezTo>
                  <a:pt x="150093" y="387994"/>
                  <a:pt x="155878" y="380884"/>
                  <a:pt x="163798" y="380084"/>
                </a:cubicBezTo>
                <a:cubicBezTo>
                  <a:pt x="164332" y="379995"/>
                  <a:pt x="164866" y="379995"/>
                  <a:pt x="165311" y="379995"/>
                </a:cubicBezTo>
                <a:close/>
                <a:moveTo>
                  <a:pt x="447093" y="360660"/>
                </a:moveTo>
                <a:cubicBezTo>
                  <a:pt x="509672" y="360660"/>
                  <a:pt x="560501" y="411394"/>
                  <a:pt x="560501" y="473767"/>
                </a:cubicBezTo>
                <a:cubicBezTo>
                  <a:pt x="560501" y="536140"/>
                  <a:pt x="509672" y="586963"/>
                  <a:pt x="447093" y="586963"/>
                </a:cubicBezTo>
                <a:cubicBezTo>
                  <a:pt x="384603" y="586963"/>
                  <a:pt x="333774" y="536140"/>
                  <a:pt x="333774" y="473767"/>
                </a:cubicBezTo>
                <a:cubicBezTo>
                  <a:pt x="333774" y="411394"/>
                  <a:pt x="384603" y="360660"/>
                  <a:pt x="447093" y="360660"/>
                </a:cubicBezTo>
                <a:close/>
                <a:moveTo>
                  <a:pt x="99451" y="239217"/>
                </a:moveTo>
                <a:cubicBezTo>
                  <a:pt x="103101" y="239217"/>
                  <a:pt x="106128" y="242238"/>
                  <a:pt x="106128" y="245881"/>
                </a:cubicBezTo>
                <a:lnTo>
                  <a:pt x="106128" y="251213"/>
                </a:lnTo>
                <a:cubicBezTo>
                  <a:pt x="111024" y="251390"/>
                  <a:pt x="115119" y="252101"/>
                  <a:pt x="118502" y="252990"/>
                </a:cubicBezTo>
                <a:cubicBezTo>
                  <a:pt x="122685" y="254056"/>
                  <a:pt x="125178" y="258321"/>
                  <a:pt x="124110" y="262498"/>
                </a:cubicBezTo>
                <a:lnTo>
                  <a:pt x="123932" y="262942"/>
                </a:lnTo>
                <a:cubicBezTo>
                  <a:pt x="123398" y="264897"/>
                  <a:pt x="122151" y="266585"/>
                  <a:pt x="120371" y="267563"/>
                </a:cubicBezTo>
                <a:cubicBezTo>
                  <a:pt x="118680" y="268540"/>
                  <a:pt x="116632" y="268718"/>
                  <a:pt x="114674" y="268185"/>
                </a:cubicBezTo>
                <a:cubicBezTo>
                  <a:pt x="111380" y="267207"/>
                  <a:pt x="107285" y="266407"/>
                  <a:pt x="102300" y="266407"/>
                </a:cubicBezTo>
                <a:cubicBezTo>
                  <a:pt x="93487" y="266407"/>
                  <a:pt x="90639" y="270139"/>
                  <a:pt x="90639" y="273960"/>
                </a:cubicBezTo>
                <a:cubicBezTo>
                  <a:pt x="90639" y="278403"/>
                  <a:pt x="95357" y="281336"/>
                  <a:pt x="106929" y="285601"/>
                </a:cubicBezTo>
                <a:cubicBezTo>
                  <a:pt x="123131" y="291376"/>
                  <a:pt x="129629" y="298752"/>
                  <a:pt x="129629" y="311014"/>
                </a:cubicBezTo>
                <a:cubicBezTo>
                  <a:pt x="129629" y="323099"/>
                  <a:pt x="121083" y="333406"/>
                  <a:pt x="105416" y="336072"/>
                </a:cubicBezTo>
                <a:lnTo>
                  <a:pt x="105416" y="343270"/>
                </a:lnTo>
                <a:cubicBezTo>
                  <a:pt x="105416" y="346913"/>
                  <a:pt x="102478" y="349934"/>
                  <a:pt x="98828" y="349934"/>
                </a:cubicBezTo>
                <a:cubicBezTo>
                  <a:pt x="95090" y="349934"/>
                  <a:pt x="92152" y="346913"/>
                  <a:pt x="92152" y="343270"/>
                </a:cubicBezTo>
                <a:lnTo>
                  <a:pt x="92152" y="337049"/>
                </a:lnTo>
                <a:cubicBezTo>
                  <a:pt x="86544" y="336783"/>
                  <a:pt x="81113" y="335805"/>
                  <a:pt x="76573" y="334384"/>
                </a:cubicBezTo>
                <a:cubicBezTo>
                  <a:pt x="72212" y="333051"/>
                  <a:pt x="69719" y="328519"/>
                  <a:pt x="70876" y="324165"/>
                </a:cubicBezTo>
                <a:lnTo>
                  <a:pt x="70965" y="323632"/>
                </a:lnTo>
                <a:cubicBezTo>
                  <a:pt x="71499" y="321677"/>
                  <a:pt x="72835" y="319989"/>
                  <a:pt x="74615" y="319011"/>
                </a:cubicBezTo>
                <a:cubicBezTo>
                  <a:pt x="76395" y="318123"/>
                  <a:pt x="78532" y="317945"/>
                  <a:pt x="80401" y="318567"/>
                </a:cubicBezTo>
                <a:cubicBezTo>
                  <a:pt x="84941" y="320166"/>
                  <a:pt x="90193" y="321322"/>
                  <a:pt x="95713" y="321322"/>
                </a:cubicBezTo>
                <a:cubicBezTo>
                  <a:pt x="103368" y="321322"/>
                  <a:pt x="108709" y="318300"/>
                  <a:pt x="108709" y="312880"/>
                </a:cubicBezTo>
                <a:cubicBezTo>
                  <a:pt x="108709" y="307726"/>
                  <a:pt x="104348" y="304439"/>
                  <a:pt x="94288" y="301062"/>
                </a:cubicBezTo>
                <a:cubicBezTo>
                  <a:pt x="79778" y="296175"/>
                  <a:pt x="69897" y="289422"/>
                  <a:pt x="69897" y="276271"/>
                </a:cubicBezTo>
                <a:cubicBezTo>
                  <a:pt x="69897" y="264364"/>
                  <a:pt x="78265" y="254945"/>
                  <a:pt x="92775" y="252101"/>
                </a:cubicBezTo>
                <a:lnTo>
                  <a:pt x="92775" y="245881"/>
                </a:lnTo>
                <a:cubicBezTo>
                  <a:pt x="92775" y="242238"/>
                  <a:pt x="95802" y="239217"/>
                  <a:pt x="99451" y="239217"/>
                </a:cubicBezTo>
                <a:close/>
                <a:moveTo>
                  <a:pt x="99699" y="233523"/>
                </a:moveTo>
                <a:cubicBezTo>
                  <a:pt x="65962" y="233523"/>
                  <a:pt x="38634" y="260894"/>
                  <a:pt x="38634" y="294575"/>
                </a:cubicBezTo>
                <a:cubicBezTo>
                  <a:pt x="38634" y="328256"/>
                  <a:pt x="65962" y="355628"/>
                  <a:pt x="99699" y="355628"/>
                </a:cubicBezTo>
                <a:cubicBezTo>
                  <a:pt x="133437" y="355628"/>
                  <a:pt x="160854" y="328256"/>
                  <a:pt x="160854" y="294575"/>
                </a:cubicBezTo>
                <a:cubicBezTo>
                  <a:pt x="160854" y="260894"/>
                  <a:pt x="133437" y="233523"/>
                  <a:pt x="99699" y="233523"/>
                </a:cubicBezTo>
                <a:close/>
                <a:moveTo>
                  <a:pt x="99699" y="195043"/>
                </a:moveTo>
                <a:cubicBezTo>
                  <a:pt x="154712" y="195043"/>
                  <a:pt x="199488" y="239655"/>
                  <a:pt x="199488" y="294575"/>
                </a:cubicBezTo>
                <a:cubicBezTo>
                  <a:pt x="199488" y="349496"/>
                  <a:pt x="154712" y="394108"/>
                  <a:pt x="99699" y="394108"/>
                </a:cubicBezTo>
                <a:cubicBezTo>
                  <a:pt x="44776" y="394108"/>
                  <a:pt x="0" y="349496"/>
                  <a:pt x="0" y="294575"/>
                </a:cubicBezTo>
                <a:cubicBezTo>
                  <a:pt x="0" y="239655"/>
                  <a:pt x="44776" y="195043"/>
                  <a:pt x="99699" y="195043"/>
                </a:cubicBezTo>
                <a:close/>
                <a:moveTo>
                  <a:pt x="245584" y="50676"/>
                </a:moveTo>
                <a:lnTo>
                  <a:pt x="315622" y="93675"/>
                </a:lnTo>
                <a:cubicBezTo>
                  <a:pt x="319004" y="95807"/>
                  <a:pt x="321229" y="99538"/>
                  <a:pt x="321407" y="103625"/>
                </a:cubicBezTo>
                <a:cubicBezTo>
                  <a:pt x="321496" y="107711"/>
                  <a:pt x="319538" y="111531"/>
                  <a:pt x="316156" y="113930"/>
                </a:cubicBezTo>
                <a:lnTo>
                  <a:pt x="248966" y="161104"/>
                </a:lnTo>
                <a:cubicBezTo>
                  <a:pt x="246830" y="162614"/>
                  <a:pt x="243982" y="162437"/>
                  <a:pt x="242024" y="160749"/>
                </a:cubicBezTo>
                <a:cubicBezTo>
                  <a:pt x="240155" y="159061"/>
                  <a:pt x="239977" y="156396"/>
                  <a:pt x="240778" y="153908"/>
                </a:cubicBezTo>
                <a:cubicBezTo>
                  <a:pt x="245050" y="140760"/>
                  <a:pt x="250212" y="122192"/>
                  <a:pt x="250212" y="122192"/>
                </a:cubicBezTo>
                <a:cubicBezTo>
                  <a:pt x="235528" y="124236"/>
                  <a:pt x="221644" y="130010"/>
                  <a:pt x="209808" y="139516"/>
                </a:cubicBezTo>
                <a:cubicBezTo>
                  <a:pt x="192721" y="153286"/>
                  <a:pt x="182042" y="173009"/>
                  <a:pt x="179728" y="194863"/>
                </a:cubicBezTo>
                <a:cubicBezTo>
                  <a:pt x="178927" y="202237"/>
                  <a:pt x="172698" y="207745"/>
                  <a:pt x="165311" y="207745"/>
                </a:cubicBezTo>
                <a:cubicBezTo>
                  <a:pt x="164866" y="207745"/>
                  <a:pt x="164332" y="207745"/>
                  <a:pt x="163798" y="207656"/>
                </a:cubicBezTo>
                <a:cubicBezTo>
                  <a:pt x="155878" y="206856"/>
                  <a:pt x="150093" y="199749"/>
                  <a:pt x="150894" y="191754"/>
                </a:cubicBezTo>
                <a:cubicBezTo>
                  <a:pt x="154009" y="162259"/>
                  <a:pt x="168515" y="135696"/>
                  <a:pt x="191653" y="117040"/>
                </a:cubicBezTo>
                <a:cubicBezTo>
                  <a:pt x="208918" y="103092"/>
                  <a:pt x="229387" y="94830"/>
                  <a:pt x="251013" y="92786"/>
                </a:cubicBezTo>
                <a:cubicBezTo>
                  <a:pt x="251013" y="92786"/>
                  <a:pt x="245940" y="78661"/>
                  <a:pt x="237841" y="58317"/>
                </a:cubicBezTo>
                <a:cubicBezTo>
                  <a:pt x="236862" y="55918"/>
                  <a:pt x="236862" y="53253"/>
                  <a:pt x="238731" y="51387"/>
                </a:cubicBezTo>
                <a:cubicBezTo>
                  <a:pt x="240511" y="49610"/>
                  <a:pt x="243448" y="49255"/>
                  <a:pt x="245584" y="50676"/>
                </a:cubicBezTo>
                <a:close/>
                <a:moveTo>
                  <a:pt x="446809" y="48408"/>
                </a:moveTo>
                <a:cubicBezTo>
                  <a:pt x="451079" y="48408"/>
                  <a:pt x="454547" y="51874"/>
                  <a:pt x="454547" y="56140"/>
                </a:cubicBezTo>
                <a:lnTo>
                  <a:pt x="454547" y="62361"/>
                </a:lnTo>
                <a:cubicBezTo>
                  <a:pt x="460329" y="62628"/>
                  <a:pt x="465043" y="63427"/>
                  <a:pt x="469046" y="64494"/>
                </a:cubicBezTo>
                <a:cubicBezTo>
                  <a:pt x="473849" y="65738"/>
                  <a:pt x="476784" y="70715"/>
                  <a:pt x="475539" y="75603"/>
                </a:cubicBezTo>
                <a:lnTo>
                  <a:pt x="475272" y="76669"/>
                </a:lnTo>
                <a:cubicBezTo>
                  <a:pt x="474738" y="78891"/>
                  <a:pt x="473315" y="80669"/>
                  <a:pt x="471358" y="81735"/>
                </a:cubicBezTo>
                <a:cubicBezTo>
                  <a:pt x="469402" y="82802"/>
                  <a:pt x="467089" y="83068"/>
                  <a:pt x="465043" y="82446"/>
                </a:cubicBezTo>
                <a:cubicBezTo>
                  <a:pt x="461130" y="81202"/>
                  <a:pt x="456237" y="80136"/>
                  <a:pt x="450100" y="80136"/>
                </a:cubicBezTo>
                <a:cubicBezTo>
                  <a:pt x="439782" y="80136"/>
                  <a:pt x="436491" y="84579"/>
                  <a:pt x="436491" y="89023"/>
                </a:cubicBezTo>
                <a:cubicBezTo>
                  <a:pt x="436491" y="94266"/>
                  <a:pt x="442006" y="97555"/>
                  <a:pt x="455526" y="102709"/>
                </a:cubicBezTo>
                <a:cubicBezTo>
                  <a:pt x="474472" y="109375"/>
                  <a:pt x="482032" y="118084"/>
                  <a:pt x="482032" y="132393"/>
                </a:cubicBezTo>
                <a:cubicBezTo>
                  <a:pt x="482032" y="146435"/>
                  <a:pt x="472070" y="158522"/>
                  <a:pt x="453747" y="161721"/>
                </a:cubicBezTo>
                <a:lnTo>
                  <a:pt x="453747" y="170075"/>
                </a:lnTo>
                <a:cubicBezTo>
                  <a:pt x="453747" y="174430"/>
                  <a:pt x="450278" y="177896"/>
                  <a:pt x="446009" y="177896"/>
                </a:cubicBezTo>
                <a:cubicBezTo>
                  <a:pt x="441650" y="177896"/>
                  <a:pt x="438270" y="174430"/>
                  <a:pt x="438270" y="170164"/>
                </a:cubicBezTo>
                <a:lnTo>
                  <a:pt x="438270" y="162787"/>
                </a:lnTo>
                <a:cubicBezTo>
                  <a:pt x="431777" y="162521"/>
                  <a:pt x="425373" y="161365"/>
                  <a:pt x="420036" y="159677"/>
                </a:cubicBezTo>
                <a:cubicBezTo>
                  <a:pt x="414966" y="158077"/>
                  <a:pt x="412031" y="152834"/>
                  <a:pt x="413365" y="147679"/>
                </a:cubicBezTo>
                <a:lnTo>
                  <a:pt x="413543" y="147146"/>
                </a:lnTo>
                <a:cubicBezTo>
                  <a:pt x="414077" y="144835"/>
                  <a:pt x="415589" y="142880"/>
                  <a:pt x="417724" y="141725"/>
                </a:cubicBezTo>
                <a:cubicBezTo>
                  <a:pt x="419858" y="140658"/>
                  <a:pt x="422260" y="140480"/>
                  <a:pt x="424572" y="141191"/>
                </a:cubicBezTo>
                <a:cubicBezTo>
                  <a:pt x="429820" y="143147"/>
                  <a:pt x="435869" y="144391"/>
                  <a:pt x="442362" y="144391"/>
                </a:cubicBezTo>
                <a:cubicBezTo>
                  <a:pt x="451345" y="144391"/>
                  <a:pt x="457572" y="140925"/>
                  <a:pt x="457572" y="134526"/>
                </a:cubicBezTo>
                <a:cubicBezTo>
                  <a:pt x="457572" y="128571"/>
                  <a:pt x="452502" y="124750"/>
                  <a:pt x="440761" y="120751"/>
                </a:cubicBezTo>
                <a:cubicBezTo>
                  <a:pt x="423772" y="115063"/>
                  <a:pt x="412209" y="107153"/>
                  <a:pt x="412209" y="91689"/>
                </a:cubicBezTo>
                <a:cubicBezTo>
                  <a:pt x="412209" y="77736"/>
                  <a:pt x="421993" y="66805"/>
                  <a:pt x="438982" y="63516"/>
                </a:cubicBezTo>
                <a:lnTo>
                  <a:pt x="438982" y="56140"/>
                </a:lnTo>
                <a:cubicBezTo>
                  <a:pt x="438982" y="51874"/>
                  <a:pt x="442451" y="48408"/>
                  <a:pt x="446809" y="48408"/>
                </a:cubicBezTo>
                <a:close/>
                <a:moveTo>
                  <a:pt x="447093" y="38573"/>
                </a:moveTo>
                <a:cubicBezTo>
                  <a:pt x="405967" y="38573"/>
                  <a:pt x="372407" y="71992"/>
                  <a:pt x="372407" y="113142"/>
                </a:cubicBezTo>
                <a:cubicBezTo>
                  <a:pt x="372407" y="154382"/>
                  <a:pt x="405967" y="187801"/>
                  <a:pt x="447093" y="187801"/>
                </a:cubicBezTo>
                <a:cubicBezTo>
                  <a:pt x="488308" y="187801"/>
                  <a:pt x="521867" y="154382"/>
                  <a:pt x="521867" y="113142"/>
                </a:cubicBezTo>
                <a:cubicBezTo>
                  <a:pt x="521867" y="71992"/>
                  <a:pt x="488308" y="38573"/>
                  <a:pt x="447093" y="38573"/>
                </a:cubicBezTo>
                <a:close/>
                <a:moveTo>
                  <a:pt x="447093" y="0"/>
                </a:moveTo>
                <a:cubicBezTo>
                  <a:pt x="509672" y="0"/>
                  <a:pt x="560501" y="50750"/>
                  <a:pt x="560501" y="113231"/>
                </a:cubicBezTo>
                <a:cubicBezTo>
                  <a:pt x="560501" y="175624"/>
                  <a:pt x="509672" y="226374"/>
                  <a:pt x="447093" y="226374"/>
                </a:cubicBezTo>
                <a:cubicBezTo>
                  <a:pt x="384603" y="226374"/>
                  <a:pt x="333774" y="175624"/>
                  <a:pt x="333774" y="113231"/>
                </a:cubicBezTo>
                <a:cubicBezTo>
                  <a:pt x="333774" y="50750"/>
                  <a:pt x="384603" y="0"/>
                  <a:pt x="447093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文本框 13"/>
          <p:cNvSpPr txBox="1"/>
          <p:nvPr/>
        </p:nvSpPr>
        <p:spPr bwMode="auto">
          <a:xfrm>
            <a:off x="8421292" y="2808286"/>
            <a:ext cx="253365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3765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3765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i="1">
                <a:cs typeface="+mn-ea"/>
                <a:sym typeface="+mn-lt"/>
              </a:rPr>
              <a:t>Tex</a:t>
            </a:r>
            <a:r>
              <a:rPr lang="en-US" altLang="zh-CN" sz="100" i="1">
                <a:cs typeface="+mn-ea"/>
                <a:sym typeface="+mn-lt"/>
              </a:rPr>
              <a:t> </a:t>
            </a:r>
            <a:r>
              <a:rPr lang="en-US" altLang="zh-CN" i="1">
                <a:cs typeface="+mn-ea"/>
                <a:sym typeface="+mn-lt"/>
              </a:rPr>
              <a:t>t </a:t>
            </a:r>
            <a:r>
              <a:rPr lang="en-US" altLang="zh-CN" i="1" dirty="0">
                <a:cs typeface="+mn-ea"/>
                <a:sym typeface="+mn-lt"/>
              </a:rPr>
              <a:t>here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8421292" y="3354818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FC178AFD-9D9E-4266-BD7D-7B8FA1E65DCA}"/>
              </a:ext>
            </a:extLst>
          </p:cNvPr>
          <p:cNvSpPr/>
          <p:nvPr/>
        </p:nvSpPr>
        <p:spPr bwMode="auto">
          <a:xfrm>
            <a:off x="8421292" y="4002169"/>
            <a:ext cx="2533650" cy="647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4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</a:t>
            </a:r>
            <a:r>
              <a:rPr lang="en-US" altLang="zh-CN" sz="1100">
                <a:cs typeface="+mn-ea"/>
                <a:sym typeface="+mn-lt"/>
              </a:rPr>
              <a:t>. Ch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se </a:t>
            </a:r>
            <a:r>
              <a:rPr lang="en-US" altLang="zh-CN" sz="1100" dirty="0">
                <a:cs typeface="+mn-ea"/>
                <a:sym typeface="+mn-lt"/>
              </a:rPr>
              <a:t>the only option to retain text……</a:t>
            </a:r>
          </a:p>
        </p:txBody>
      </p:sp>
    </p:spTree>
    <p:extLst>
      <p:ext uri="{BB962C8B-B14F-4D97-AF65-F5344CB8AC3E}">
        <p14:creationId xmlns:p14="http://schemas.microsoft.com/office/powerpoint/2010/main" val="23380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治疗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6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6307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治疗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泪滴形 5">
            <a:extLst>
              <a:ext uri="{FF2B5EF4-FFF2-40B4-BE49-F238E27FC236}">
                <a16:creationId xmlns:a16="http://schemas.microsoft.com/office/drawing/2014/main" id="{0421F7F7-A45E-4ECE-8439-89D9F6CCAC6F}"/>
              </a:ext>
            </a:extLst>
          </p:cNvPr>
          <p:cNvSpPr/>
          <p:nvPr/>
        </p:nvSpPr>
        <p:spPr>
          <a:xfrm rot="2700000">
            <a:off x="3961676" y="2739493"/>
            <a:ext cx="2019583" cy="2019583"/>
          </a:xfrm>
          <a:prstGeom prst="teardrop">
            <a:avLst/>
          </a:prstGeom>
          <a:solidFill>
            <a:schemeClr val="accent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7" name="泪滴形 6">
            <a:extLst>
              <a:ext uri="{FF2B5EF4-FFF2-40B4-BE49-F238E27FC236}">
                <a16:creationId xmlns:a16="http://schemas.microsoft.com/office/drawing/2014/main" id="{A869661F-95E3-4A09-9166-114698DC0220}"/>
              </a:ext>
            </a:extLst>
          </p:cNvPr>
          <p:cNvSpPr/>
          <p:nvPr/>
        </p:nvSpPr>
        <p:spPr>
          <a:xfrm rot="18900000" flipH="1">
            <a:off x="6813466" y="3040856"/>
            <a:ext cx="1416858" cy="1416858"/>
          </a:xfrm>
          <a:prstGeom prst="teardrop">
            <a:avLst/>
          </a:prstGeom>
          <a:solidFill>
            <a:schemeClr val="bg1"/>
          </a:solidFill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泪滴形 7">
            <a:extLst>
              <a:ext uri="{FF2B5EF4-FFF2-40B4-BE49-F238E27FC236}">
                <a16:creationId xmlns:a16="http://schemas.microsoft.com/office/drawing/2014/main" id="{79247EDF-35B6-4EFA-9F22-7A167F07AC0D}"/>
              </a:ext>
            </a:extLst>
          </p:cNvPr>
          <p:cNvSpPr/>
          <p:nvPr/>
        </p:nvSpPr>
        <p:spPr>
          <a:xfrm rot="13500000" flipH="1">
            <a:off x="5751348" y="1949167"/>
            <a:ext cx="1416858" cy="1416858"/>
          </a:xfrm>
          <a:prstGeom prst="teardrop">
            <a:avLst/>
          </a:prstGeom>
          <a:solidFill>
            <a:schemeClr val="bg1"/>
          </a:solidFill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泪滴形 8">
            <a:extLst>
              <a:ext uri="{FF2B5EF4-FFF2-40B4-BE49-F238E27FC236}">
                <a16:creationId xmlns:a16="http://schemas.microsoft.com/office/drawing/2014/main" id="{F80776D0-AC2C-40E0-844E-9F9F6BAB9BA2}"/>
              </a:ext>
            </a:extLst>
          </p:cNvPr>
          <p:cNvSpPr/>
          <p:nvPr/>
        </p:nvSpPr>
        <p:spPr>
          <a:xfrm rot="8100000" flipH="1" flipV="1">
            <a:off x="5751348" y="4132543"/>
            <a:ext cx="1416858" cy="1416858"/>
          </a:xfrm>
          <a:prstGeom prst="teardrop">
            <a:avLst/>
          </a:prstGeom>
          <a:solidFill>
            <a:schemeClr val="bg1"/>
          </a:solidFill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75771CF5-B863-4B23-A48F-E999CA7A1BC0}"/>
              </a:ext>
            </a:extLst>
          </p:cNvPr>
          <p:cNvSpPr/>
          <p:nvPr/>
        </p:nvSpPr>
        <p:spPr bwMode="auto">
          <a:xfrm>
            <a:off x="6243147" y="2387759"/>
            <a:ext cx="433256" cy="539673"/>
          </a:xfrm>
          <a:custGeom>
            <a:avLst/>
            <a:gdLst>
              <a:gd name="connsiteX0" fmla="*/ 79065 w 271462"/>
              <a:gd name="connsiteY0" fmla="*/ 301625 h 338138"/>
              <a:gd name="connsiteX1" fmla="*/ 69850 w 271462"/>
              <a:gd name="connsiteY1" fmla="*/ 312632 h 338138"/>
              <a:gd name="connsiteX2" fmla="*/ 79065 w 271462"/>
              <a:gd name="connsiteY2" fmla="*/ 322263 h 338138"/>
              <a:gd name="connsiteX3" fmla="*/ 114610 w 271462"/>
              <a:gd name="connsiteY3" fmla="*/ 322263 h 338138"/>
              <a:gd name="connsiteX4" fmla="*/ 123825 w 271462"/>
              <a:gd name="connsiteY4" fmla="*/ 312632 h 338138"/>
              <a:gd name="connsiteX5" fmla="*/ 114610 w 271462"/>
              <a:gd name="connsiteY5" fmla="*/ 301625 h 338138"/>
              <a:gd name="connsiteX6" fmla="*/ 79065 w 271462"/>
              <a:gd name="connsiteY6" fmla="*/ 301625 h 338138"/>
              <a:gd name="connsiteX7" fmla="*/ 166687 w 271462"/>
              <a:gd name="connsiteY7" fmla="*/ 152400 h 338138"/>
              <a:gd name="connsiteX8" fmla="*/ 166687 w 271462"/>
              <a:gd name="connsiteY8" fmla="*/ 166688 h 338138"/>
              <a:gd name="connsiteX9" fmla="*/ 171450 w 271462"/>
              <a:gd name="connsiteY9" fmla="*/ 166688 h 338138"/>
              <a:gd name="connsiteX10" fmla="*/ 171450 w 271462"/>
              <a:gd name="connsiteY10" fmla="*/ 193676 h 338138"/>
              <a:gd name="connsiteX11" fmla="*/ 166687 w 271462"/>
              <a:gd name="connsiteY11" fmla="*/ 193676 h 338138"/>
              <a:gd name="connsiteX12" fmla="*/ 166687 w 271462"/>
              <a:gd name="connsiteY12" fmla="*/ 207963 h 338138"/>
              <a:gd name="connsiteX13" fmla="*/ 193675 w 271462"/>
              <a:gd name="connsiteY13" fmla="*/ 207963 h 338138"/>
              <a:gd name="connsiteX14" fmla="*/ 193675 w 271462"/>
              <a:gd name="connsiteY14" fmla="*/ 193676 h 338138"/>
              <a:gd name="connsiteX15" fmla="*/ 190500 w 271462"/>
              <a:gd name="connsiteY15" fmla="*/ 193676 h 338138"/>
              <a:gd name="connsiteX16" fmla="*/ 190500 w 271462"/>
              <a:gd name="connsiteY16" fmla="*/ 152400 h 338138"/>
              <a:gd name="connsiteX17" fmla="*/ 179388 w 271462"/>
              <a:gd name="connsiteY17" fmla="*/ 125413 h 338138"/>
              <a:gd name="connsiteX18" fmla="*/ 168275 w 271462"/>
              <a:gd name="connsiteY18" fmla="*/ 135732 h 338138"/>
              <a:gd name="connsiteX19" fmla="*/ 179388 w 271462"/>
              <a:gd name="connsiteY19" fmla="*/ 146051 h 338138"/>
              <a:gd name="connsiteX20" fmla="*/ 190501 w 271462"/>
              <a:gd name="connsiteY20" fmla="*/ 135732 h 338138"/>
              <a:gd name="connsiteX21" fmla="*/ 179388 w 271462"/>
              <a:gd name="connsiteY21" fmla="*/ 125413 h 338138"/>
              <a:gd name="connsiteX22" fmla="*/ 180975 w 271462"/>
              <a:gd name="connsiteY22" fmla="*/ 88900 h 338138"/>
              <a:gd name="connsiteX23" fmla="*/ 271462 w 271462"/>
              <a:gd name="connsiteY23" fmla="*/ 169069 h 338138"/>
              <a:gd name="connsiteX24" fmla="*/ 180975 w 271462"/>
              <a:gd name="connsiteY24" fmla="*/ 249238 h 338138"/>
              <a:gd name="connsiteX25" fmla="*/ 131141 w 271462"/>
              <a:gd name="connsiteY25" fmla="*/ 236096 h 338138"/>
              <a:gd name="connsiteX26" fmla="*/ 97044 w 271462"/>
              <a:gd name="connsiteY26" fmla="*/ 242667 h 338138"/>
              <a:gd name="connsiteX27" fmla="*/ 95732 w 271462"/>
              <a:gd name="connsiteY27" fmla="*/ 237410 h 338138"/>
              <a:gd name="connsiteX28" fmla="*/ 110158 w 271462"/>
              <a:gd name="connsiteY28" fmla="*/ 219011 h 338138"/>
              <a:gd name="connsiteX29" fmla="*/ 90487 w 271462"/>
              <a:gd name="connsiteY29" fmla="*/ 169069 h 338138"/>
              <a:gd name="connsiteX30" fmla="*/ 180975 w 271462"/>
              <a:gd name="connsiteY30" fmla="*/ 88900 h 338138"/>
              <a:gd name="connsiteX31" fmla="*/ 37042 w 271462"/>
              <a:gd name="connsiteY31" fmla="*/ 0 h 338138"/>
              <a:gd name="connsiteX32" fmla="*/ 162719 w 271462"/>
              <a:gd name="connsiteY32" fmla="*/ 0 h 338138"/>
              <a:gd name="connsiteX33" fmla="*/ 198438 w 271462"/>
              <a:gd name="connsiteY33" fmla="*/ 38304 h 338138"/>
              <a:gd name="connsiteX34" fmla="*/ 198438 w 271462"/>
              <a:gd name="connsiteY34" fmla="*/ 67363 h 338138"/>
              <a:gd name="connsiteX35" fmla="*/ 181240 w 271462"/>
              <a:gd name="connsiteY35" fmla="*/ 66042 h 338138"/>
              <a:gd name="connsiteX36" fmla="*/ 165365 w 271462"/>
              <a:gd name="connsiteY36" fmla="*/ 67363 h 338138"/>
              <a:gd name="connsiteX37" fmla="*/ 165365 w 271462"/>
              <a:gd name="connsiteY37" fmla="*/ 51513 h 338138"/>
              <a:gd name="connsiteX38" fmla="*/ 34396 w 271462"/>
              <a:gd name="connsiteY38" fmla="*/ 51513 h 338138"/>
              <a:gd name="connsiteX39" fmla="*/ 33073 w 271462"/>
              <a:gd name="connsiteY39" fmla="*/ 51513 h 338138"/>
              <a:gd name="connsiteX40" fmla="*/ 33073 w 271462"/>
              <a:gd name="connsiteY40" fmla="*/ 286625 h 338138"/>
              <a:gd name="connsiteX41" fmla="*/ 34396 w 271462"/>
              <a:gd name="connsiteY41" fmla="*/ 286625 h 338138"/>
              <a:gd name="connsiteX42" fmla="*/ 165365 w 271462"/>
              <a:gd name="connsiteY42" fmla="*/ 286625 h 338138"/>
              <a:gd name="connsiteX43" fmla="*/ 165365 w 271462"/>
              <a:gd name="connsiteY43" fmla="*/ 270775 h 338138"/>
              <a:gd name="connsiteX44" fmla="*/ 181240 w 271462"/>
              <a:gd name="connsiteY44" fmla="*/ 272096 h 338138"/>
              <a:gd name="connsiteX45" fmla="*/ 198438 w 271462"/>
              <a:gd name="connsiteY45" fmla="*/ 270775 h 338138"/>
              <a:gd name="connsiteX46" fmla="*/ 198438 w 271462"/>
              <a:gd name="connsiteY46" fmla="*/ 299834 h 338138"/>
              <a:gd name="connsiteX47" fmla="*/ 162719 w 271462"/>
              <a:gd name="connsiteY47" fmla="*/ 338138 h 338138"/>
              <a:gd name="connsiteX48" fmla="*/ 37042 w 271462"/>
              <a:gd name="connsiteY48" fmla="*/ 338138 h 338138"/>
              <a:gd name="connsiteX49" fmla="*/ 0 w 271462"/>
              <a:gd name="connsiteY49" fmla="*/ 299834 h 338138"/>
              <a:gd name="connsiteX50" fmla="*/ 0 w 271462"/>
              <a:gd name="connsiteY50" fmla="*/ 38304 h 338138"/>
              <a:gd name="connsiteX51" fmla="*/ 37042 w 271462"/>
              <a:gd name="connsiteY51" fmla="*/ 0 h 33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71462" h="338138">
                <a:moveTo>
                  <a:pt x="79065" y="301625"/>
                </a:moveTo>
                <a:cubicBezTo>
                  <a:pt x="73799" y="301625"/>
                  <a:pt x="69850" y="305753"/>
                  <a:pt x="69850" y="312632"/>
                </a:cubicBezTo>
                <a:cubicBezTo>
                  <a:pt x="69850" y="318136"/>
                  <a:pt x="73799" y="322263"/>
                  <a:pt x="79065" y="322263"/>
                </a:cubicBezTo>
                <a:cubicBezTo>
                  <a:pt x="79065" y="322263"/>
                  <a:pt x="79065" y="322263"/>
                  <a:pt x="114610" y="322263"/>
                </a:cubicBezTo>
                <a:cubicBezTo>
                  <a:pt x="119875" y="322263"/>
                  <a:pt x="123825" y="318136"/>
                  <a:pt x="123825" y="312632"/>
                </a:cubicBezTo>
                <a:cubicBezTo>
                  <a:pt x="123825" y="305753"/>
                  <a:pt x="119875" y="301625"/>
                  <a:pt x="114610" y="301625"/>
                </a:cubicBezTo>
                <a:cubicBezTo>
                  <a:pt x="114610" y="301625"/>
                  <a:pt x="114610" y="301625"/>
                  <a:pt x="79065" y="301625"/>
                </a:cubicBezTo>
                <a:close/>
                <a:moveTo>
                  <a:pt x="166687" y="152400"/>
                </a:moveTo>
                <a:lnTo>
                  <a:pt x="166687" y="166688"/>
                </a:lnTo>
                <a:lnTo>
                  <a:pt x="171450" y="166688"/>
                </a:lnTo>
                <a:lnTo>
                  <a:pt x="171450" y="193676"/>
                </a:lnTo>
                <a:lnTo>
                  <a:pt x="166687" y="193676"/>
                </a:lnTo>
                <a:lnTo>
                  <a:pt x="166687" y="207963"/>
                </a:lnTo>
                <a:lnTo>
                  <a:pt x="193675" y="207963"/>
                </a:lnTo>
                <a:lnTo>
                  <a:pt x="193675" y="193676"/>
                </a:lnTo>
                <a:lnTo>
                  <a:pt x="190500" y="193676"/>
                </a:lnTo>
                <a:lnTo>
                  <a:pt x="190500" y="152400"/>
                </a:lnTo>
                <a:close/>
                <a:moveTo>
                  <a:pt x="179388" y="125413"/>
                </a:moveTo>
                <a:cubicBezTo>
                  <a:pt x="173250" y="125413"/>
                  <a:pt x="168275" y="130033"/>
                  <a:pt x="168275" y="135732"/>
                </a:cubicBezTo>
                <a:cubicBezTo>
                  <a:pt x="168275" y="141431"/>
                  <a:pt x="173250" y="146051"/>
                  <a:pt x="179388" y="146051"/>
                </a:cubicBezTo>
                <a:cubicBezTo>
                  <a:pt x="185526" y="146051"/>
                  <a:pt x="190501" y="141431"/>
                  <a:pt x="190501" y="135732"/>
                </a:cubicBezTo>
                <a:cubicBezTo>
                  <a:pt x="190501" y="130033"/>
                  <a:pt x="185526" y="125413"/>
                  <a:pt x="179388" y="125413"/>
                </a:cubicBezTo>
                <a:close/>
                <a:moveTo>
                  <a:pt x="180975" y="88900"/>
                </a:moveTo>
                <a:cubicBezTo>
                  <a:pt x="230808" y="88900"/>
                  <a:pt x="271462" y="124384"/>
                  <a:pt x="271462" y="169069"/>
                </a:cubicBezTo>
                <a:cubicBezTo>
                  <a:pt x="271462" y="212439"/>
                  <a:pt x="230808" y="249238"/>
                  <a:pt x="180975" y="249238"/>
                </a:cubicBezTo>
                <a:cubicBezTo>
                  <a:pt x="162614" y="249238"/>
                  <a:pt x="145566" y="243981"/>
                  <a:pt x="131141" y="236096"/>
                </a:cubicBezTo>
                <a:cubicBezTo>
                  <a:pt x="119338" y="243981"/>
                  <a:pt x="104912" y="242667"/>
                  <a:pt x="97044" y="242667"/>
                </a:cubicBezTo>
                <a:cubicBezTo>
                  <a:pt x="94421" y="241353"/>
                  <a:pt x="94421" y="238724"/>
                  <a:pt x="95732" y="237410"/>
                </a:cubicBezTo>
                <a:cubicBezTo>
                  <a:pt x="103601" y="232153"/>
                  <a:pt x="107535" y="225582"/>
                  <a:pt x="110158" y="219011"/>
                </a:cubicBezTo>
                <a:cubicBezTo>
                  <a:pt x="97044" y="205868"/>
                  <a:pt x="90487" y="187469"/>
                  <a:pt x="90487" y="169069"/>
                </a:cubicBezTo>
                <a:cubicBezTo>
                  <a:pt x="90487" y="124384"/>
                  <a:pt x="131141" y="88900"/>
                  <a:pt x="180975" y="88900"/>
                </a:cubicBezTo>
                <a:close/>
                <a:moveTo>
                  <a:pt x="37042" y="0"/>
                </a:moveTo>
                <a:cubicBezTo>
                  <a:pt x="37042" y="0"/>
                  <a:pt x="37042" y="0"/>
                  <a:pt x="162719" y="0"/>
                </a:cubicBezTo>
                <a:cubicBezTo>
                  <a:pt x="182563" y="0"/>
                  <a:pt x="198438" y="17171"/>
                  <a:pt x="198438" y="38304"/>
                </a:cubicBezTo>
                <a:cubicBezTo>
                  <a:pt x="198438" y="38304"/>
                  <a:pt x="198438" y="38304"/>
                  <a:pt x="198438" y="67363"/>
                </a:cubicBezTo>
                <a:cubicBezTo>
                  <a:pt x="193147" y="67363"/>
                  <a:pt x="186532" y="66042"/>
                  <a:pt x="181240" y="66042"/>
                </a:cubicBezTo>
                <a:cubicBezTo>
                  <a:pt x="175949" y="66042"/>
                  <a:pt x="170657" y="67363"/>
                  <a:pt x="165365" y="67363"/>
                </a:cubicBezTo>
                <a:cubicBezTo>
                  <a:pt x="165365" y="67363"/>
                  <a:pt x="165365" y="67363"/>
                  <a:pt x="165365" y="51513"/>
                </a:cubicBezTo>
                <a:cubicBezTo>
                  <a:pt x="165365" y="51513"/>
                  <a:pt x="165365" y="51513"/>
                  <a:pt x="34396" y="51513"/>
                </a:cubicBezTo>
                <a:cubicBezTo>
                  <a:pt x="34396" y="51513"/>
                  <a:pt x="33073" y="51513"/>
                  <a:pt x="33073" y="51513"/>
                </a:cubicBezTo>
                <a:cubicBezTo>
                  <a:pt x="33073" y="51513"/>
                  <a:pt x="33073" y="51513"/>
                  <a:pt x="33073" y="286625"/>
                </a:cubicBezTo>
                <a:cubicBezTo>
                  <a:pt x="33073" y="286625"/>
                  <a:pt x="34396" y="286625"/>
                  <a:pt x="34396" y="286625"/>
                </a:cubicBezTo>
                <a:cubicBezTo>
                  <a:pt x="34396" y="286625"/>
                  <a:pt x="34396" y="286625"/>
                  <a:pt x="165365" y="286625"/>
                </a:cubicBezTo>
                <a:cubicBezTo>
                  <a:pt x="165365" y="286625"/>
                  <a:pt x="165365" y="286625"/>
                  <a:pt x="165365" y="270775"/>
                </a:cubicBezTo>
                <a:cubicBezTo>
                  <a:pt x="170657" y="270775"/>
                  <a:pt x="175949" y="272096"/>
                  <a:pt x="181240" y="272096"/>
                </a:cubicBezTo>
                <a:cubicBezTo>
                  <a:pt x="186532" y="272096"/>
                  <a:pt x="193147" y="270775"/>
                  <a:pt x="198438" y="270775"/>
                </a:cubicBezTo>
                <a:cubicBezTo>
                  <a:pt x="198438" y="270775"/>
                  <a:pt x="198438" y="270775"/>
                  <a:pt x="198438" y="299834"/>
                </a:cubicBezTo>
                <a:cubicBezTo>
                  <a:pt x="198438" y="320967"/>
                  <a:pt x="182563" y="338138"/>
                  <a:pt x="162719" y="338138"/>
                </a:cubicBezTo>
                <a:cubicBezTo>
                  <a:pt x="162719" y="338138"/>
                  <a:pt x="162719" y="338138"/>
                  <a:pt x="37042" y="338138"/>
                </a:cubicBezTo>
                <a:cubicBezTo>
                  <a:pt x="17198" y="338138"/>
                  <a:pt x="0" y="320967"/>
                  <a:pt x="0" y="299834"/>
                </a:cubicBezTo>
                <a:cubicBezTo>
                  <a:pt x="0" y="299834"/>
                  <a:pt x="0" y="299834"/>
                  <a:pt x="0" y="38304"/>
                </a:cubicBezTo>
                <a:cubicBezTo>
                  <a:pt x="0" y="17171"/>
                  <a:pt x="17198" y="0"/>
                  <a:pt x="370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E49FC4E8-E5A6-46D4-BA35-7A1DFCDCB579}"/>
              </a:ext>
            </a:extLst>
          </p:cNvPr>
          <p:cNvSpPr/>
          <p:nvPr/>
        </p:nvSpPr>
        <p:spPr bwMode="auto">
          <a:xfrm>
            <a:off x="6226613" y="4518939"/>
            <a:ext cx="466327" cy="580866"/>
          </a:xfrm>
          <a:custGeom>
            <a:avLst/>
            <a:gdLst>
              <a:gd name="connsiteX0" fmla="*/ 79065 w 271462"/>
              <a:gd name="connsiteY0" fmla="*/ 301625 h 338138"/>
              <a:gd name="connsiteX1" fmla="*/ 69850 w 271462"/>
              <a:gd name="connsiteY1" fmla="*/ 312632 h 338138"/>
              <a:gd name="connsiteX2" fmla="*/ 79065 w 271462"/>
              <a:gd name="connsiteY2" fmla="*/ 322263 h 338138"/>
              <a:gd name="connsiteX3" fmla="*/ 114610 w 271462"/>
              <a:gd name="connsiteY3" fmla="*/ 322263 h 338138"/>
              <a:gd name="connsiteX4" fmla="*/ 123825 w 271462"/>
              <a:gd name="connsiteY4" fmla="*/ 312632 h 338138"/>
              <a:gd name="connsiteX5" fmla="*/ 114610 w 271462"/>
              <a:gd name="connsiteY5" fmla="*/ 301625 h 338138"/>
              <a:gd name="connsiteX6" fmla="*/ 79065 w 271462"/>
              <a:gd name="connsiteY6" fmla="*/ 301625 h 338138"/>
              <a:gd name="connsiteX7" fmla="*/ 166687 w 271462"/>
              <a:gd name="connsiteY7" fmla="*/ 152400 h 338138"/>
              <a:gd name="connsiteX8" fmla="*/ 166687 w 271462"/>
              <a:gd name="connsiteY8" fmla="*/ 166688 h 338138"/>
              <a:gd name="connsiteX9" fmla="*/ 171450 w 271462"/>
              <a:gd name="connsiteY9" fmla="*/ 166688 h 338138"/>
              <a:gd name="connsiteX10" fmla="*/ 171450 w 271462"/>
              <a:gd name="connsiteY10" fmla="*/ 193676 h 338138"/>
              <a:gd name="connsiteX11" fmla="*/ 166687 w 271462"/>
              <a:gd name="connsiteY11" fmla="*/ 193676 h 338138"/>
              <a:gd name="connsiteX12" fmla="*/ 166687 w 271462"/>
              <a:gd name="connsiteY12" fmla="*/ 207963 h 338138"/>
              <a:gd name="connsiteX13" fmla="*/ 193675 w 271462"/>
              <a:gd name="connsiteY13" fmla="*/ 207963 h 338138"/>
              <a:gd name="connsiteX14" fmla="*/ 193675 w 271462"/>
              <a:gd name="connsiteY14" fmla="*/ 193676 h 338138"/>
              <a:gd name="connsiteX15" fmla="*/ 190500 w 271462"/>
              <a:gd name="connsiteY15" fmla="*/ 193676 h 338138"/>
              <a:gd name="connsiteX16" fmla="*/ 190500 w 271462"/>
              <a:gd name="connsiteY16" fmla="*/ 152400 h 338138"/>
              <a:gd name="connsiteX17" fmla="*/ 179388 w 271462"/>
              <a:gd name="connsiteY17" fmla="*/ 125413 h 338138"/>
              <a:gd name="connsiteX18" fmla="*/ 168275 w 271462"/>
              <a:gd name="connsiteY18" fmla="*/ 135732 h 338138"/>
              <a:gd name="connsiteX19" fmla="*/ 179388 w 271462"/>
              <a:gd name="connsiteY19" fmla="*/ 146051 h 338138"/>
              <a:gd name="connsiteX20" fmla="*/ 190501 w 271462"/>
              <a:gd name="connsiteY20" fmla="*/ 135732 h 338138"/>
              <a:gd name="connsiteX21" fmla="*/ 179388 w 271462"/>
              <a:gd name="connsiteY21" fmla="*/ 125413 h 338138"/>
              <a:gd name="connsiteX22" fmla="*/ 180975 w 271462"/>
              <a:gd name="connsiteY22" fmla="*/ 88900 h 338138"/>
              <a:gd name="connsiteX23" fmla="*/ 271462 w 271462"/>
              <a:gd name="connsiteY23" fmla="*/ 169069 h 338138"/>
              <a:gd name="connsiteX24" fmla="*/ 180975 w 271462"/>
              <a:gd name="connsiteY24" fmla="*/ 249238 h 338138"/>
              <a:gd name="connsiteX25" fmla="*/ 131141 w 271462"/>
              <a:gd name="connsiteY25" fmla="*/ 236096 h 338138"/>
              <a:gd name="connsiteX26" fmla="*/ 97044 w 271462"/>
              <a:gd name="connsiteY26" fmla="*/ 242667 h 338138"/>
              <a:gd name="connsiteX27" fmla="*/ 95732 w 271462"/>
              <a:gd name="connsiteY27" fmla="*/ 237410 h 338138"/>
              <a:gd name="connsiteX28" fmla="*/ 110158 w 271462"/>
              <a:gd name="connsiteY28" fmla="*/ 219011 h 338138"/>
              <a:gd name="connsiteX29" fmla="*/ 90487 w 271462"/>
              <a:gd name="connsiteY29" fmla="*/ 169069 h 338138"/>
              <a:gd name="connsiteX30" fmla="*/ 180975 w 271462"/>
              <a:gd name="connsiteY30" fmla="*/ 88900 h 338138"/>
              <a:gd name="connsiteX31" fmla="*/ 37042 w 271462"/>
              <a:gd name="connsiteY31" fmla="*/ 0 h 338138"/>
              <a:gd name="connsiteX32" fmla="*/ 162719 w 271462"/>
              <a:gd name="connsiteY32" fmla="*/ 0 h 338138"/>
              <a:gd name="connsiteX33" fmla="*/ 198438 w 271462"/>
              <a:gd name="connsiteY33" fmla="*/ 38304 h 338138"/>
              <a:gd name="connsiteX34" fmla="*/ 198438 w 271462"/>
              <a:gd name="connsiteY34" fmla="*/ 67363 h 338138"/>
              <a:gd name="connsiteX35" fmla="*/ 181240 w 271462"/>
              <a:gd name="connsiteY35" fmla="*/ 66042 h 338138"/>
              <a:gd name="connsiteX36" fmla="*/ 165365 w 271462"/>
              <a:gd name="connsiteY36" fmla="*/ 67363 h 338138"/>
              <a:gd name="connsiteX37" fmla="*/ 165365 w 271462"/>
              <a:gd name="connsiteY37" fmla="*/ 51513 h 338138"/>
              <a:gd name="connsiteX38" fmla="*/ 34396 w 271462"/>
              <a:gd name="connsiteY38" fmla="*/ 51513 h 338138"/>
              <a:gd name="connsiteX39" fmla="*/ 33073 w 271462"/>
              <a:gd name="connsiteY39" fmla="*/ 51513 h 338138"/>
              <a:gd name="connsiteX40" fmla="*/ 33073 w 271462"/>
              <a:gd name="connsiteY40" fmla="*/ 286625 h 338138"/>
              <a:gd name="connsiteX41" fmla="*/ 34396 w 271462"/>
              <a:gd name="connsiteY41" fmla="*/ 286625 h 338138"/>
              <a:gd name="connsiteX42" fmla="*/ 165365 w 271462"/>
              <a:gd name="connsiteY42" fmla="*/ 286625 h 338138"/>
              <a:gd name="connsiteX43" fmla="*/ 165365 w 271462"/>
              <a:gd name="connsiteY43" fmla="*/ 270775 h 338138"/>
              <a:gd name="connsiteX44" fmla="*/ 181240 w 271462"/>
              <a:gd name="connsiteY44" fmla="*/ 272096 h 338138"/>
              <a:gd name="connsiteX45" fmla="*/ 198438 w 271462"/>
              <a:gd name="connsiteY45" fmla="*/ 270775 h 338138"/>
              <a:gd name="connsiteX46" fmla="*/ 198438 w 271462"/>
              <a:gd name="connsiteY46" fmla="*/ 299834 h 338138"/>
              <a:gd name="connsiteX47" fmla="*/ 162719 w 271462"/>
              <a:gd name="connsiteY47" fmla="*/ 338138 h 338138"/>
              <a:gd name="connsiteX48" fmla="*/ 37042 w 271462"/>
              <a:gd name="connsiteY48" fmla="*/ 338138 h 338138"/>
              <a:gd name="connsiteX49" fmla="*/ 0 w 271462"/>
              <a:gd name="connsiteY49" fmla="*/ 299834 h 338138"/>
              <a:gd name="connsiteX50" fmla="*/ 0 w 271462"/>
              <a:gd name="connsiteY50" fmla="*/ 38304 h 338138"/>
              <a:gd name="connsiteX51" fmla="*/ 37042 w 271462"/>
              <a:gd name="connsiteY51" fmla="*/ 0 h 33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71462" h="338138">
                <a:moveTo>
                  <a:pt x="79065" y="301625"/>
                </a:moveTo>
                <a:cubicBezTo>
                  <a:pt x="73799" y="301625"/>
                  <a:pt x="69850" y="305753"/>
                  <a:pt x="69850" y="312632"/>
                </a:cubicBezTo>
                <a:cubicBezTo>
                  <a:pt x="69850" y="318136"/>
                  <a:pt x="73799" y="322263"/>
                  <a:pt x="79065" y="322263"/>
                </a:cubicBezTo>
                <a:cubicBezTo>
                  <a:pt x="79065" y="322263"/>
                  <a:pt x="79065" y="322263"/>
                  <a:pt x="114610" y="322263"/>
                </a:cubicBezTo>
                <a:cubicBezTo>
                  <a:pt x="119875" y="322263"/>
                  <a:pt x="123825" y="318136"/>
                  <a:pt x="123825" y="312632"/>
                </a:cubicBezTo>
                <a:cubicBezTo>
                  <a:pt x="123825" y="305753"/>
                  <a:pt x="119875" y="301625"/>
                  <a:pt x="114610" y="301625"/>
                </a:cubicBezTo>
                <a:cubicBezTo>
                  <a:pt x="114610" y="301625"/>
                  <a:pt x="114610" y="301625"/>
                  <a:pt x="79065" y="301625"/>
                </a:cubicBezTo>
                <a:close/>
                <a:moveTo>
                  <a:pt x="166687" y="152400"/>
                </a:moveTo>
                <a:lnTo>
                  <a:pt x="166687" y="166688"/>
                </a:lnTo>
                <a:lnTo>
                  <a:pt x="171450" y="166688"/>
                </a:lnTo>
                <a:lnTo>
                  <a:pt x="171450" y="193676"/>
                </a:lnTo>
                <a:lnTo>
                  <a:pt x="166687" y="193676"/>
                </a:lnTo>
                <a:lnTo>
                  <a:pt x="166687" y="207963"/>
                </a:lnTo>
                <a:lnTo>
                  <a:pt x="193675" y="207963"/>
                </a:lnTo>
                <a:lnTo>
                  <a:pt x="193675" y="193676"/>
                </a:lnTo>
                <a:lnTo>
                  <a:pt x="190500" y="193676"/>
                </a:lnTo>
                <a:lnTo>
                  <a:pt x="190500" y="152400"/>
                </a:lnTo>
                <a:close/>
                <a:moveTo>
                  <a:pt x="179388" y="125413"/>
                </a:moveTo>
                <a:cubicBezTo>
                  <a:pt x="173250" y="125413"/>
                  <a:pt x="168275" y="130033"/>
                  <a:pt x="168275" y="135732"/>
                </a:cubicBezTo>
                <a:cubicBezTo>
                  <a:pt x="168275" y="141431"/>
                  <a:pt x="173250" y="146051"/>
                  <a:pt x="179388" y="146051"/>
                </a:cubicBezTo>
                <a:cubicBezTo>
                  <a:pt x="185526" y="146051"/>
                  <a:pt x="190501" y="141431"/>
                  <a:pt x="190501" y="135732"/>
                </a:cubicBezTo>
                <a:cubicBezTo>
                  <a:pt x="190501" y="130033"/>
                  <a:pt x="185526" y="125413"/>
                  <a:pt x="179388" y="125413"/>
                </a:cubicBezTo>
                <a:close/>
                <a:moveTo>
                  <a:pt x="180975" y="88900"/>
                </a:moveTo>
                <a:cubicBezTo>
                  <a:pt x="230808" y="88900"/>
                  <a:pt x="271462" y="124384"/>
                  <a:pt x="271462" y="169069"/>
                </a:cubicBezTo>
                <a:cubicBezTo>
                  <a:pt x="271462" y="212439"/>
                  <a:pt x="230808" y="249238"/>
                  <a:pt x="180975" y="249238"/>
                </a:cubicBezTo>
                <a:cubicBezTo>
                  <a:pt x="162614" y="249238"/>
                  <a:pt x="145566" y="243981"/>
                  <a:pt x="131141" y="236096"/>
                </a:cubicBezTo>
                <a:cubicBezTo>
                  <a:pt x="119338" y="243981"/>
                  <a:pt x="104912" y="242667"/>
                  <a:pt x="97044" y="242667"/>
                </a:cubicBezTo>
                <a:cubicBezTo>
                  <a:pt x="94421" y="241353"/>
                  <a:pt x="94421" y="238724"/>
                  <a:pt x="95732" y="237410"/>
                </a:cubicBezTo>
                <a:cubicBezTo>
                  <a:pt x="103601" y="232153"/>
                  <a:pt x="107535" y="225582"/>
                  <a:pt x="110158" y="219011"/>
                </a:cubicBezTo>
                <a:cubicBezTo>
                  <a:pt x="97044" y="205868"/>
                  <a:pt x="90487" y="187469"/>
                  <a:pt x="90487" y="169069"/>
                </a:cubicBezTo>
                <a:cubicBezTo>
                  <a:pt x="90487" y="124384"/>
                  <a:pt x="131141" y="88900"/>
                  <a:pt x="180975" y="88900"/>
                </a:cubicBezTo>
                <a:close/>
                <a:moveTo>
                  <a:pt x="37042" y="0"/>
                </a:moveTo>
                <a:cubicBezTo>
                  <a:pt x="37042" y="0"/>
                  <a:pt x="37042" y="0"/>
                  <a:pt x="162719" y="0"/>
                </a:cubicBezTo>
                <a:cubicBezTo>
                  <a:pt x="182563" y="0"/>
                  <a:pt x="198438" y="17171"/>
                  <a:pt x="198438" y="38304"/>
                </a:cubicBezTo>
                <a:cubicBezTo>
                  <a:pt x="198438" y="38304"/>
                  <a:pt x="198438" y="38304"/>
                  <a:pt x="198438" y="67363"/>
                </a:cubicBezTo>
                <a:cubicBezTo>
                  <a:pt x="193147" y="67363"/>
                  <a:pt x="186532" y="66042"/>
                  <a:pt x="181240" y="66042"/>
                </a:cubicBezTo>
                <a:cubicBezTo>
                  <a:pt x="175949" y="66042"/>
                  <a:pt x="170657" y="67363"/>
                  <a:pt x="165365" y="67363"/>
                </a:cubicBezTo>
                <a:cubicBezTo>
                  <a:pt x="165365" y="67363"/>
                  <a:pt x="165365" y="67363"/>
                  <a:pt x="165365" y="51513"/>
                </a:cubicBezTo>
                <a:cubicBezTo>
                  <a:pt x="165365" y="51513"/>
                  <a:pt x="165365" y="51513"/>
                  <a:pt x="34396" y="51513"/>
                </a:cubicBezTo>
                <a:cubicBezTo>
                  <a:pt x="34396" y="51513"/>
                  <a:pt x="33073" y="51513"/>
                  <a:pt x="33073" y="51513"/>
                </a:cubicBezTo>
                <a:cubicBezTo>
                  <a:pt x="33073" y="51513"/>
                  <a:pt x="33073" y="51513"/>
                  <a:pt x="33073" y="286625"/>
                </a:cubicBezTo>
                <a:cubicBezTo>
                  <a:pt x="33073" y="286625"/>
                  <a:pt x="34396" y="286625"/>
                  <a:pt x="34396" y="286625"/>
                </a:cubicBezTo>
                <a:cubicBezTo>
                  <a:pt x="34396" y="286625"/>
                  <a:pt x="34396" y="286625"/>
                  <a:pt x="165365" y="286625"/>
                </a:cubicBezTo>
                <a:cubicBezTo>
                  <a:pt x="165365" y="286625"/>
                  <a:pt x="165365" y="286625"/>
                  <a:pt x="165365" y="270775"/>
                </a:cubicBezTo>
                <a:cubicBezTo>
                  <a:pt x="170657" y="270775"/>
                  <a:pt x="175949" y="272096"/>
                  <a:pt x="181240" y="272096"/>
                </a:cubicBezTo>
                <a:cubicBezTo>
                  <a:pt x="186532" y="272096"/>
                  <a:pt x="193147" y="270775"/>
                  <a:pt x="198438" y="270775"/>
                </a:cubicBezTo>
                <a:cubicBezTo>
                  <a:pt x="198438" y="270775"/>
                  <a:pt x="198438" y="270775"/>
                  <a:pt x="198438" y="299834"/>
                </a:cubicBezTo>
                <a:cubicBezTo>
                  <a:pt x="198438" y="320967"/>
                  <a:pt x="182563" y="338138"/>
                  <a:pt x="162719" y="338138"/>
                </a:cubicBezTo>
                <a:cubicBezTo>
                  <a:pt x="162719" y="338138"/>
                  <a:pt x="162719" y="338138"/>
                  <a:pt x="37042" y="338138"/>
                </a:cubicBezTo>
                <a:cubicBezTo>
                  <a:pt x="17198" y="338138"/>
                  <a:pt x="0" y="320967"/>
                  <a:pt x="0" y="299834"/>
                </a:cubicBezTo>
                <a:cubicBezTo>
                  <a:pt x="0" y="299834"/>
                  <a:pt x="0" y="299834"/>
                  <a:pt x="0" y="38304"/>
                </a:cubicBezTo>
                <a:cubicBezTo>
                  <a:pt x="0" y="17171"/>
                  <a:pt x="17198" y="0"/>
                  <a:pt x="370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0E839CCA-899F-46D7-B201-F7BE46CB4CCF}"/>
              </a:ext>
            </a:extLst>
          </p:cNvPr>
          <p:cNvSpPr/>
          <p:nvPr/>
        </p:nvSpPr>
        <p:spPr bwMode="auto">
          <a:xfrm>
            <a:off x="7281402" y="3471290"/>
            <a:ext cx="450137" cy="560699"/>
          </a:xfrm>
          <a:custGeom>
            <a:avLst/>
            <a:gdLst>
              <a:gd name="connsiteX0" fmla="*/ 79065 w 271462"/>
              <a:gd name="connsiteY0" fmla="*/ 301625 h 338138"/>
              <a:gd name="connsiteX1" fmla="*/ 69850 w 271462"/>
              <a:gd name="connsiteY1" fmla="*/ 312632 h 338138"/>
              <a:gd name="connsiteX2" fmla="*/ 79065 w 271462"/>
              <a:gd name="connsiteY2" fmla="*/ 322263 h 338138"/>
              <a:gd name="connsiteX3" fmla="*/ 114610 w 271462"/>
              <a:gd name="connsiteY3" fmla="*/ 322263 h 338138"/>
              <a:gd name="connsiteX4" fmla="*/ 123825 w 271462"/>
              <a:gd name="connsiteY4" fmla="*/ 312632 h 338138"/>
              <a:gd name="connsiteX5" fmla="*/ 114610 w 271462"/>
              <a:gd name="connsiteY5" fmla="*/ 301625 h 338138"/>
              <a:gd name="connsiteX6" fmla="*/ 79065 w 271462"/>
              <a:gd name="connsiteY6" fmla="*/ 301625 h 338138"/>
              <a:gd name="connsiteX7" fmla="*/ 166687 w 271462"/>
              <a:gd name="connsiteY7" fmla="*/ 152400 h 338138"/>
              <a:gd name="connsiteX8" fmla="*/ 166687 w 271462"/>
              <a:gd name="connsiteY8" fmla="*/ 166688 h 338138"/>
              <a:gd name="connsiteX9" fmla="*/ 171450 w 271462"/>
              <a:gd name="connsiteY9" fmla="*/ 166688 h 338138"/>
              <a:gd name="connsiteX10" fmla="*/ 171450 w 271462"/>
              <a:gd name="connsiteY10" fmla="*/ 193676 h 338138"/>
              <a:gd name="connsiteX11" fmla="*/ 166687 w 271462"/>
              <a:gd name="connsiteY11" fmla="*/ 193676 h 338138"/>
              <a:gd name="connsiteX12" fmla="*/ 166687 w 271462"/>
              <a:gd name="connsiteY12" fmla="*/ 207963 h 338138"/>
              <a:gd name="connsiteX13" fmla="*/ 193675 w 271462"/>
              <a:gd name="connsiteY13" fmla="*/ 207963 h 338138"/>
              <a:gd name="connsiteX14" fmla="*/ 193675 w 271462"/>
              <a:gd name="connsiteY14" fmla="*/ 193676 h 338138"/>
              <a:gd name="connsiteX15" fmla="*/ 190500 w 271462"/>
              <a:gd name="connsiteY15" fmla="*/ 193676 h 338138"/>
              <a:gd name="connsiteX16" fmla="*/ 190500 w 271462"/>
              <a:gd name="connsiteY16" fmla="*/ 152400 h 338138"/>
              <a:gd name="connsiteX17" fmla="*/ 179388 w 271462"/>
              <a:gd name="connsiteY17" fmla="*/ 125413 h 338138"/>
              <a:gd name="connsiteX18" fmla="*/ 168275 w 271462"/>
              <a:gd name="connsiteY18" fmla="*/ 135732 h 338138"/>
              <a:gd name="connsiteX19" fmla="*/ 179388 w 271462"/>
              <a:gd name="connsiteY19" fmla="*/ 146051 h 338138"/>
              <a:gd name="connsiteX20" fmla="*/ 190501 w 271462"/>
              <a:gd name="connsiteY20" fmla="*/ 135732 h 338138"/>
              <a:gd name="connsiteX21" fmla="*/ 179388 w 271462"/>
              <a:gd name="connsiteY21" fmla="*/ 125413 h 338138"/>
              <a:gd name="connsiteX22" fmla="*/ 180975 w 271462"/>
              <a:gd name="connsiteY22" fmla="*/ 88900 h 338138"/>
              <a:gd name="connsiteX23" fmla="*/ 271462 w 271462"/>
              <a:gd name="connsiteY23" fmla="*/ 169069 h 338138"/>
              <a:gd name="connsiteX24" fmla="*/ 180975 w 271462"/>
              <a:gd name="connsiteY24" fmla="*/ 249238 h 338138"/>
              <a:gd name="connsiteX25" fmla="*/ 131141 w 271462"/>
              <a:gd name="connsiteY25" fmla="*/ 236096 h 338138"/>
              <a:gd name="connsiteX26" fmla="*/ 97044 w 271462"/>
              <a:gd name="connsiteY26" fmla="*/ 242667 h 338138"/>
              <a:gd name="connsiteX27" fmla="*/ 95732 w 271462"/>
              <a:gd name="connsiteY27" fmla="*/ 237410 h 338138"/>
              <a:gd name="connsiteX28" fmla="*/ 110158 w 271462"/>
              <a:gd name="connsiteY28" fmla="*/ 219011 h 338138"/>
              <a:gd name="connsiteX29" fmla="*/ 90487 w 271462"/>
              <a:gd name="connsiteY29" fmla="*/ 169069 h 338138"/>
              <a:gd name="connsiteX30" fmla="*/ 180975 w 271462"/>
              <a:gd name="connsiteY30" fmla="*/ 88900 h 338138"/>
              <a:gd name="connsiteX31" fmla="*/ 37042 w 271462"/>
              <a:gd name="connsiteY31" fmla="*/ 0 h 338138"/>
              <a:gd name="connsiteX32" fmla="*/ 162719 w 271462"/>
              <a:gd name="connsiteY32" fmla="*/ 0 h 338138"/>
              <a:gd name="connsiteX33" fmla="*/ 198438 w 271462"/>
              <a:gd name="connsiteY33" fmla="*/ 38304 h 338138"/>
              <a:gd name="connsiteX34" fmla="*/ 198438 w 271462"/>
              <a:gd name="connsiteY34" fmla="*/ 67363 h 338138"/>
              <a:gd name="connsiteX35" fmla="*/ 181240 w 271462"/>
              <a:gd name="connsiteY35" fmla="*/ 66042 h 338138"/>
              <a:gd name="connsiteX36" fmla="*/ 165365 w 271462"/>
              <a:gd name="connsiteY36" fmla="*/ 67363 h 338138"/>
              <a:gd name="connsiteX37" fmla="*/ 165365 w 271462"/>
              <a:gd name="connsiteY37" fmla="*/ 51513 h 338138"/>
              <a:gd name="connsiteX38" fmla="*/ 34396 w 271462"/>
              <a:gd name="connsiteY38" fmla="*/ 51513 h 338138"/>
              <a:gd name="connsiteX39" fmla="*/ 33073 w 271462"/>
              <a:gd name="connsiteY39" fmla="*/ 51513 h 338138"/>
              <a:gd name="connsiteX40" fmla="*/ 33073 w 271462"/>
              <a:gd name="connsiteY40" fmla="*/ 286625 h 338138"/>
              <a:gd name="connsiteX41" fmla="*/ 34396 w 271462"/>
              <a:gd name="connsiteY41" fmla="*/ 286625 h 338138"/>
              <a:gd name="connsiteX42" fmla="*/ 165365 w 271462"/>
              <a:gd name="connsiteY42" fmla="*/ 286625 h 338138"/>
              <a:gd name="connsiteX43" fmla="*/ 165365 w 271462"/>
              <a:gd name="connsiteY43" fmla="*/ 270775 h 338138"/>
              <a:gd name="connsiteX44" fmla="*/ 181240 w 271462"/>
              <a:gd name="connsiteY44" fmla="*/ 272096 h 338138"/>
              <a:gd name="connsiteX45" fmla="*/ 198438 w 271462"/>
              <a:gd name="connsiteY45" fmla="*/ 270775 h 338138"/>
              <a:gd name="connsiteX46" fmla="*/ 198438 w 271462"/>
              <a:gd name="connsiteY46" fmla="*/ 299834 h 338138"/>
              <a:gd name="connsiteX47" fmla="*/ 162719 w 271462"/>
              <a:gd name="connsiteY47" fmla="*/ 338138 h 338138"/>
              <a:gd name="connsiteX48" fmla="*/ 37042 w 271462"/>
              <a:gd name="connsiteY48" fmla="*/ 338138 h 338138"/>
              <a:gd name="connsiteX49" fmla="*/ 0 w 271462"/>
              <a:gd name="connsiteY49" fmla="*/ 299834 h 338138"/>
              <a:gd name="connsiteX50" fmla="*/ 0 w 271462"/>
              <a:gd name="connsiteY50" fmla="*/ 38304 h 338138"/>
              <a:gd name="connsiteX51" fmla="*/ 37042 w 271462"/>
              <a:gd name="connsiteY51" fmla="*/ 0 h 338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271462" h="338138">
                <a:moveTo>
                  <a:pt x="79065" y="301625"/>
                </a:moveTo>
                <a:cubicBezTo>
                  <a:pt x="73799" y="301625"/>
                  <a:pt x="69850" y="305753"/>
                  <a:pt x="69850" y="312632"/>
                </a:cubicBezTo>
                <a:cubicBezTo>
                  <a:pt x="69850" y="318136"/>
                  <a:pt x="73799" y="322263"/>
                  <a:pt x="79065" y="322263"/>
                </a:cubicBezTo>
                <a:cubicBezTo>
                  <a:pt x="79065" y="322263"/>
                  <a:pt x="79065" y="322263"/>
                  <a:pt x="114610" y="322263"/>
                </a:cubicBezTo>
                <a:cubicBezTo>
                  <a:pt x="119875" y="322263"/>
                  <a:pt x="123825" y="318136"/>
                  <a:pt x="123825" y="312632"/>
                </a:cubicBezTo>
                <a:cubicBezTo>
                  <a:pt x="123825" y="305753"/>
                  <a:pt x="119875" y="301625"/>
                  <a:pt x="114610" y="301625"/>
                </a:cubicBezTo>
                <a:cubicBezTo>
                  <a:pt x="114610" y="301625"/>
                  <a:pt x="114610" y="301625"/>
                  <a:pt x="79065" y="301625"/>
                </a:cubicBezTo>
                <a:close/>
                <a:moveTo>
                  <a:pt x="166687" y="152400"/>
                </a:moveTo>
                <a:lnTo>
                  <a:pt x="166687" y="166688"/>
                </a:lnTo>
                <a:lnTo>
                  <a:pt x="171450" y="166688"/>
                </a:lnTo>
                <a:lnTo>
                  <a:pt x="171450" y="193676"/>
                </a:lnTo>
                <a:lnTo>
                  <a:pt x="166687" y="193676"/>
                </a:lnTo>
                <a:lnTo>
                  <a:pt x="166687" y="207963"/>
                </a:lnTo>
                <a:lnTo>
                  <a:pt x="193675" y="207963"/>
                </a:lnTo>
                <a:lnTo>
                  <a:pt x="193675" y="193676"/>
                </a:lnTo>
                <a:lnTo>
                  <a:pt x="190500" y="193676"/>
                </a:lnTo>
                <a:lnTo>
                  <a:pt x="190500" y="152400"/>
                </a:lnTo>
                <a:close/>
                <a:moveTo>
                  <a:pt x="179388" y="125413"/>
                </a:moveTo>
                <a:cubicBezTo>
                  <a:pt x="173250" y="125413"/>
                  <a:pt x="168275" y="130033"/>
                  <a:pt x="168275" y="135732"/>
                </a:cubicBezTo>
                <a:cubicBezTo>
                  <a:pt x="168275" y="141431"/>
                  <a:pt x="173250" y="146051"/>
                  <a:pt x="179388" y="146051"/>
                </a:cubicBezTo>
                <a:cubicBezTo>
                  <a:pt x="185526" y="146051"/>
                  <a:pt x="190501" y="141431"/>
                  <a:pt x="190501" y="135732"/>
                </a:cubicBezTo>
                <a:cubicBezTo>
                  <a:pt x="190501" y="130033"/>
                  <a:pt x="185526" y="125413"/>
                  <a:pt x="179388" y="125413"/>
                </a:cubicBezTo>
                <a:close/>
                <a:moveTo>
                  <a:pt x="180975" y="88900"/>
                </a:moveTo>
                <a:cubicBezTo>
                  <a:pt x="230808" y="88900"/>
                  <a:pt x="271462" y="124384"/>
                  <a:pt x="271462" y="169069"/>
                </a:cubicBezTo>
                <a:cubicBezTo>
                  <a:pt x="271462" y="212439"/>
                  <a:pt x="230808" y="249238"/>
                  <a:pt x="180975" y="249238"/>
                </a:cubicBezTo>
                <a:cubicBezTo>
                  <a:pt x="162614" y="249238"/>
                  <a:pt x="145566" y="243981"/>
                  <a:pt x="131141" y="236096"/>
                </a:cubicBezTo>
                <a:cubicBezTo>
                  <a:pt x="119338" y="243981"/>
                  <a:pt x="104912" y="242667"/>
                  <a:pt x="97044" y="242667"/>
                </a:cubicBezTo>
                <a:cubicBezTo>
                  <a:pt x="94421" y="241353"/>
                  <a:pt x="94421" y="238724"/>
                  <a:pt x="95732" y="237410"/>
                </a:cubicBezTo>
                <a:cubicBezTo>
                  <a:pt x="103601" y="232153"/>
                  <a:pt x="107535" y="225582"/>
                  <a:pt x="110158" y="219011"/>
                </a:cubicBezTo>
                <a:cubicBezTo>
                  <a:pt x="97044" y="205868"/>
                  <a:pt x="90487" y="187469"/>
                  <a:pt x="90487" y="169069"/>
                </a:cubicBezTo>
                <a:cubicBezTo>
                  <a:pt x="90487" y="124384"/>
                  <a:pt x="131141" y="88900"/>
                  <a:pt x="180975" y="88900"/>
                </a:cubicBezTo>
                <a:close/>
                <a:moveTo>
                  <a:pt x="37042" y="0"/>
                </a:moveTo>
                <a:cubicBezTo>
                  <a:pt x="37042" y="0"/>
                  <a:pt x="37042" y="0"/>
                  <a:pt x="162719" y="0"/>
                </a:cubicBezTo>
                <a:cubicBezTo>
                  <a:pt x="182563" y="0"/>
                  <a:pt x="198438" y="17171"/>
                  <a:pt x="198438" y="38304"/>
                </a:cubicBezTo>
                <a:cubicBezTo>
                  <a:pt x="198438" y="38304"/>
                  <a:pt x="198438" y="38304"/>
                  <a:pt x="198438" y="67363"/>
                </a:cubicBezTo>
                <a:cubicBezTo>
                  <a:pt x="193147" y="67363"/>
                  <a:pt x="186532" y="66042"/>
                  <a:pt x="181240" y="66042"/>
                </a:cubicBezTo>
                <a:cubicBezTo>
                  <a:pt x="175949" y="66042"/>
                  <a:pt x="170657" y="67363"/>
                  <a:pt x="165365" y="67363"/>
                </a:cubicBezTo>
                <a:cubicBezTo>
                  <a:pt x="165365" y="67363"/>
                  <a:pt x="165365" y="67363"/>
                  <a:pt x="165365" y="51513"/>
                </a:cubicBezTo>
                <a:cubicBezTo>
                  <a:pt x="165365" y="51513"/>
                  <a:pt x="165365" y="51513"/>
                  <a:pt x="34396" y="51513"/>
                </a:cubicBezTo>
                <a:cubicBezTo>
                  <a:pt x="34396" y="51513"/>
                  <a:pt x="33073" y="51513"/>
                  <a:pt x="33073" y="51513"/>
                </a:cubicBezTo>
                <a:cubicBezTo>
                  <a:pt x="33073" y="51513"/>
                  <a:pt x="33073" y="51513"/>
                  <a:pt x="33073" y="286625"/>
                </a:cubicBezTo>
                <a:cubicBezTo>
                  <a:pt x="33073" y="286625"/>
                  <a:pt x="34396" y="286625"/>
                  <a:pt x="34396" y="286625"/>
                </a:cubicBezTo>
                <a:cubicBezTo>
                  <a:pt x="34396" y="286625"/>
                  <a:pt x="34396" y="286625"/>
                  <a:pt x="165365" y="286625"/>
                </a:cubicBezTo>
                <a:cubicBezTo>
                  <a:pt x="165365" y="286625"/>
                  <a:pt x="165365" y="286625"/>
                  <a:pt x="165365" y="270775"/>
                </a:cubicBezTo>
                <a:cubicBezTo>
                  <a:pt x="170657" y="270775"/>
                  <a:pt x="175949" y="272096"/>
                  <a:pt x="181240" y="272096"/>
                </a:cubicBezTo>
                <a:cubicBezTo>
                  <a:pt x="186532" y="272096"/>
                  <a:pt x="193147" y="270775"/>
                  <a:pt x="198438" y="270775"/>
                </a:cubicBezTo>
                <a:cubicBezTo>
                  <a:pt x="198438" y="270775"/>
                  <a:pt x="198438" y="270775"/>
                  <a:pt x="198438" y="299834"/>
                </a:cubicBezTo>
                <a:cubicBezTo>
                  <a:pt x="198438" y="320967"/>
                  <a:pt x="182563" y="338138"/>
                  <a:pt x="162719" y="338138"/>
                </a:cubicBezTo>
                <a:cubicBezTo>
                  <a:pt x="162719" y="338138"/>
                  <a:pt x="162719" y="338138"/>
                  <a:pt x="37042" y="338138"/>
                </a:cubicBezTo>
                <a:cubicBezTo>
                  <a:pt x="17198" y="338138"/>
                  <a:pt x="0" y="320967"/>
                  <a:pt x="0" y="299834"/>
                </a:cubicBezTo>
                <a:cubicBezTo>
                  <a:pt x="0" y="299834"/>
                  <a:pt x="0" y="299834"/>
                  <a:pt x="0" y="38304"/>
                </a:cubicBezTo>
                <a:cubicBezTo>
                  <a:pt x="0" y="17171"/>
                  <a:pt x="17198" y="0"/>
                  <a:pt x="3704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7097F1C-23B9-4542-931E-B0507D7F98FA}"/>
              </a:ext>
            </a:extLst>
          </p:cNvPr>
          <p:cNvSpPr txBox="1"/>
          <p:nvPr/>
        </p:nvSpPr>
        <p:spPr>
          <a:xfrm>
            <a:off x="7281402" y="2057102"/>
            <a:ext cx="2514598" cy="6651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on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o retain text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B3D2DFD2-CD28-4F71-999B-D0F91AE84FB9}"/>
              </a:ext>
            </a:extLst>
          </p:cNvPr>
          <p:cNvSpPr/>
          <p:nvPr/>
        </p:nvSpPr>
        <p:spPr>
          <a:xfrm>
            <a:off x="7281402" y="1610338"/>
            <a:ext cx="251459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9483C67-6E85-4907-9205-F1B642712ABB}"/>
              </a:ext>
            </a:extLst>
          </p:cNvPr>
          <p:cNvSpPr/>
          <p:nvPr/>
        </p:nvSpPr>
        <p:spPr>
          <a:xfrm>
            <a:off x="4248525" y="3525902"/>
            <a:ext cx="1704600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b="1">
                <a:solidFill>
                  <a:schemeClr val="bg1"/>
                </a:solidFill>
                <a:cs typeface="+mn-ea"/>
                <a:sym typeface="+mn-lt"/>
              </a:rPr>
              <a:t>here</a:t>
            </a:r>
            <a:endParaRPr lang="zh-CN" alt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4986D8F-EF51-4D95-A99D-EA5C7EDFA94F}"/>
              </a:ext>
            </a:extLst>
          </p:cNvPr>
          <p:cNvSpPr txBox="1"/>
          <p:nvPr/>
        </p:nvSpPr>
        <p:spPr>
          <a:xfrm>
            <a:off x="669925" y="2105053"/>
            <a:ext cx="3160208" cy="9349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</a:t>
            </a:r>
            <a:r>
              <a:rPr lang="en-US" altLang="zh-CN" sz="1100">
                <a:cs typeface="+mn-ea"/>
                <a:sym typeface="+mn-lt"/>
              </a:rPr>
              <a:t>optio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 </a:t>
            </a:r>
            <a:r>
              <a:rPr lang="en-US" altLang="zh-CN" sz="1100" dirty="0">
                <a:cs typeface="+mn-ea"/>
                <a:sym typeface="+mn-lt"/>
              </a:rPr>
              <a:t>retain text.</a:t>
            </a:r>
          </a:p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CA04D212-59DF-4B2B-B353-B9687B2696C4}"/>
              </a:ext>
            </a:extLst>
          </p:cNvPr>
          <p:cNvSpPr txBox="1"/>
          <p:nvPr/>
        </p:nvSpPr>
        <p:spPr>
          <a:xfrm>
            <a:off x="669925" y="3281804"/>
            <a:ext cx="3160208" cy="9349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</a:t>
            </a:r>
            <a:r>
              <a:rPr lang="en-US" altLang="zh-CN" sz="1100">
                <a:cs typeface="+mn-ea"/>
                <a:sym typeface="+mn-lt"/>
              </a:rPr>
              <a:t>optio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 </a:t>
            </a:r>
            <a:r>
              <a:rPr lang="en-US" altLang="zh-CN" sz="1100" dirty="0">
                <a:cs typeface="+mn-ea"/>
                <a:sym typeface="+mn-lt"/>
              </a:rPr>
              <a:t>retain text.</a:t>
            </a:r>
          </a:p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0BCE676-B211-4B96-889E-B28EFC65CB15}"/>
              </a:ext>
            </a:extLst>
          </p:cNvPr>
          <p:cNvSpPr txBox="1"/>
          <p:nvPr/>
        </p:nvSpPr>
        <p:spPr>
          <a:xfrm>
            <a:off x="669925" y="4458555"/>
            <a:ext cx="3160208" cy="93495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</a:t>
            </a:r>
            <a:r>
              <a:rPr lang="en-US" altLang="zh-CN" sz="1100">
                <a:cs typeface="+mn-ea"/>
                <a:sym typeface="+mn-lt"/>
              </a:rPr>
              <a:t>optio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o </a:t>
            </a:r>
            <a:r>
              <a:rPr lang="en-US" altLang="zh-CN" sz="1100" dirty="0">
                <a:cs typeface="+mn-ea"/>
                <a:sym typeface="+mn-lt"/>
              </a:rPr>
              <a:t>retain text.</a:t>
            </a:r>
          </a:p>
          <a:p>
            <a:pPr algn="r"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4F699F8C-701C-4922-9395-31536552BBF2}"/>
              </a:ext>
            </a:extLst>
          </p:cNvPr>
          <p:cNvSpPr txBox="1"/>
          <p:nvPr/>
        </p:nvSpPr>
        <p:spPr>
          <a:xfrm>
            <a:off x="8405352" y="3640094"/>
            <a:ext cx="3115136" cy="6651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on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o retain text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51ED53C-C0D8-417F-BA8F-CC67CA69853F}"/>
              </a:ext>
            </a:extLst>
          </p:cNvPr>
          <p:cNvSpPr/>
          <p:nvPr/>
        </p:nvSpPr>
        <p:spPr>
          <a:xfrm>
            <a:off x="8405352" y="3193330"/>
            <a:ext cx="3115136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FDB55A2-9351-4289-BBCE-036BE707F01F}"/>
              </a:ext>
            </a:extLst>
          </p:cNvPr>
          <p:cNvSpPr txBox="1"/>
          <p:nvPr/>
        </p:nvSpPr>
        <p:spPr>
          <a:xfrm>
            <a:off x="7281402" y="5001623"/>
            <a:ext cx="2514598" cy="66513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ption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to retain text…...</a:t>
            </a: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9D529C25-5938-4436-858B-6D67CD423419}"/>
              </a:ext>
            </a:extLst>
          </p:cNvPr>
          <p:cNvSpPr/>
          <p:nvPr/>
        </p:nvSpPr>
        <p:spPr>
          <a:xfrm>
            <a:off x="7281402" y="4554859"/>
            <a:ext cx="2514598" cy="446763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zh-CN" altLang="en-US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66231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转运原则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7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489769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转运原则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/>
          <p:cNvSpPr/>
          <p:nvPr/>
        </p:nvSpPr>
        <p:spPr bwMode="auto">
          <a:xfrm>
            <a:off x="1972841" y="4797424"/>
            <a:ext cx="1749277" cy="632007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4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4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/>
          <p:cNvSpPr/>
          <p:nvPr/>
        </p:nvSpPr>
        <p:spPr bwMode="auto">
          <a:xfrm>
            <a:off x="3272582" y="4239623"/>
            <a:ext cx="1748444" cy="1189808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5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5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/>
          <p:cNvSpPr/>
          <p:nvPr/>
        </p:nvSpPr>
        <p:spPr bwMode="auto">
          <a:xfrm>
            <a:off x="4571490" y="4262969"/>
            <a:ext cx="1748444" cy="1166462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4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4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任意多边形: 形状 8"/>
          <p:cNvSpPr/>
          <p:nvPr/>
        </p:nvSpPr>
        <p:spPr bwMode="auto">
          <a:xfrm>
            <a:off x="5870398" y="3667648"/>
            <a:ext cx="1749277" cy="1761783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5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5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/>
          <p:cNvSpPr/>
          <p:nvPr/>
        </p:nvSpPr>
        <p:spPr bwMode="auto">
          <a:xfrm>
            <a:off x="7170139" y="2316086"/>
            <a:ext cx="1749277" cy="3113345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5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5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任意多边形: 形状 10"/>
          <p:cNvSpPr/>
          <p:nvPr/>
        </p:nvSpPr>
        <p:spPr bwMode="auto">
          <a:xfrm>
            <a:off x="8469880" y="2908906"/>
            <a:ext cx="1749277" cy="2520525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4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4"/>
                </a:cubicBezTo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任意多边形: 形状 11"/>
          <p:cNvSpPr/>
          <p:nvPr/>
        </p:nvSpPr>
        <p:spPr bwMode="auto">
          <a:xfrm>
            <a:off x="9769623" y="1624046"/>
            <a:ext cx="1749277" cy="3805385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4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4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任意多边形: 形状 12"/>
          <p:cNvSpPr/>
          <p:nvPr/>
        </p:nvSpPr>
        <p:spPr bwMode="auto">
          <a:xfrm>
            <a:off x="673100" y="4958344"/>
            <a:ext cx="1749277" cy="471087"/>
          </a:xfrm>
          <a:custGeom>
            <a:avLst/>
            <a:gdLst>
              <a:gd name="T0" fmla="*/ 10800 w 21600"/>
              <a:gd name="T1" fmla="+- 0 10847 95"/>
              <a:gd name="T2" fmla="*/ 10847 h 21505"/>
              <a:gd name="T3" fmla="*/ 10800 w 21600"/>
              <a:gd name="T4" fmla="+- 0 10847 95"/>
              <a:gd name="T5" fmla="*/ 10847 h 21505"/>
              <a:gd name="T6" fmla="*/ 10800 w 21600"/>
              <a:gd name="T7" fmla="+- 0 10847 95"/>
              <a:gd name="T8" fmla="*/ 10847 h 21505"/>
              <a:gd name="T9" fmla="*/ 10800 w 21600"/>
              <a:gd name="T10" fmla="+- 0 10847 95"/>
              <a:gd name="T11" fmla="*/ 10847 h 21505"/>
            </a:gdLst>
            <a:ahLst/>
            <a:cxnLst>
              <a:cxn ang="0">
                <a:pos x="T0" y="T2"/>
              </a:cxn>
              <a:cxn ang="0">
                <a:pos x="T3" y="T5"/>
              </a:cxn>
              <a:cxn ang="0">
                <a:pos x="T6" y="T8"/>
              </a:cxn>
              <a:cxn ang="0">
                <a:pos x="T9" y="T11"/>
              </a:cxn>
            </a:cxnLst>
            <a:rect l="0" t="0" r="r" b="b"/>
            <a:pathLst>
              <a:path w="21600" h="21505">
                <a:moveTo>
                  <a:pt x="0" y="21504"/>
                </a:moveTo>
                <a:cubicBezTo>
                  <a:pt x="1944" y="16919"/>
                  <a:pt x="3732" y="12198"/>
                  <a:pt x="5382" y="7366"/>
                </a:cubicBezTo>
                <a:cubicBezTo>
                  <a:pt x="6546" y="3957"/>
                  <a:pt x="7960" y="101"/>
                  <a:pt x="10683" y="1"/>
                </a:cubicBezTo>
                <a:cubicBezTo>
                  <a:pt x="13319" y="-95"/>
                  <a:pt x="14856" y="3791"/>
                  <a:pt x="16057" y="7318"/>
                </a:cubicBezTo>
                <a:cubicBezTo>
                  <a:pt x="17695" y="12130"/>
                  <a:pt x="19528" y="16858"/>
                  <a:pt x="21599" y="21504"/>
                </a:cubicBezTo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/>
          </a:bodyPr>
          <a:lstStyle/>
          <a:p>
            <a:pPr algn="ctr"/>
            <a:endParaRPr lang="id-ID" b="1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673100" y="5613158"/>
            <a:ext cx="108458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任意多边形: 形状 14"/>
          <p:cNvSpPr/>
          <p:nvPr/>
        </p:nvSpPr>
        <p:spPr bwMode="auto">
          <a:xfrm>
            <a:off x="1475738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6" name="任意多边形: 形状 15"/>
          <p:cNvSpPr/>
          <p:nvPr/>
        </p:nvSpPr>
        <p:spPr bwMode="auto">
          <a:xfrm>
            <a:off x="2775241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7" name="任意多边形: 形状 16"/>
          <p:cNvSpPr/>
          <p:nvPr/>
        </p:nvSpPr>
        <p:spPr bwMode="auto">
          <a:xfrm>
            <a:off x="4074744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8" name="任意多边形: 形状 17"/>
          <p:cNvSpPr/>
          <p:nvPr/>
        </p:nvSpPr>
        <p:spPr bwMode="auto">
          <a:xfrm>
            <a:off x="5374247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9" name="任意多边形: 形状 18"/>
          <p:cNvSpPr/>
          <p:nvPr/>
        </p:nvSpPr>
        <p:spPr bwMode="auto">
          <a:xfrm>
            <a:off x="6673750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20" name="任意多边形: 形状 19"/>
          <p:cNvSpPr/>
          <p:nvPr/>
        </p:nvSpPr>
        <p:spPr bwMode="auto">
          <a:xfrm>
            <a:off x="7973253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 bwMode="auto">
          <a:xfrm>
            <a:off x="9272756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22" name="任意多边形: 形状 21"/>
          <p:cNvSpPr/>
          <p:nvPr/>
        </p:nvSpPr>
        <p:spPr bwMode="auto">
          <a:xfrm>
            <a:off x="10572261" y="5541158"/>
            <a:ext cx="144000" cy="144000"/>
          </a:xfrm>
          <a:custGeom>
            <a:avLst/>
            <a:gdLst>
              <a:gd name="T0" fmla="+- 0 10800 961"/>
              <a:gd name="T1" fmla="*/ T0 w 19679"/>
              <a:gd name="T2" fmla="+- 0 10800 961"/>
              <a:gd name="T3" fmla="*/ 10800 h 19679"/>
              <a:gd name="T4" fmla="+- 0 10800 961"/>
              <a:gd name="T5" fmla="*/ T4 w 19679"/>
              <a:gd name="T6" fmla="+- 0 10800 961"/>
              <a:gd name="T7" fmla="*/ 10800 h 19679"/>
              <a:gd name="T8" fmla="+- 0 10800 961"/>
              <a:gd name="T9" fmla="*/ T8 w 19679"/>
              <a:gd name="T10" fmla="+- 0 10800 961"/>
              <a:gd name="T11" fmla="*/ 10800 h 19679"/>
              <a:gd name="T12" fmla="+- 0 10800 961"/>
              <a:gd name="T13" fmla="*/ T12 w 19679"/>
              <a:gd name="T14" fmla="+- 0 10800 961"/>
              <a:gd name="T15" fmla="*/ 10800 h 19679"/>
            </a:gdLst>
            <a:ahLst/>
            <a:cxnLst>
              <a:cxn ang="0">
                <a:pos x="T1" y="T3"/>
              </a:cxn>
              <a:cxn ang="0">
                <a:pos x="T5" y="T7"/>
              </a:cxn>
              <a:cxn ang="0">
                <a:pos x="T9" y="T11"/>
              </a:cxn>
              <a:cxn ang="0">
                <a:pos x="T13" y="T15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 anchorCtr="0">
            <a:normAutofit fontScale="25000" lnSpcReduction="20000"/>
          </a:bodyPr>
          <a:lstStyle/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1038338" y="4561853"/>
            <a:ext cx="1018800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XXX</a:t>
            </a:r>
            <a:endParaRPr lang="id-ID" altLang="zh-CN" b="1" dirty="0">
              <a:cs typeface="+mn-ea"/>
              <a:sym typeface="+mn-lt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10134861" y="1227555"/>
            <a:ext cx="1018800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b="1" dirty="0">
                <a:cs typeface="+mn-ea"/>
                <a:sym typeface="+mn-lt"/>
              </a:rPr>
              <a:t>XXX</a:t>
            </a:r>
            <a:endParaRPr lang="id-ID" altLang="zh-CN" b="1" dirty="0">
              <a:cs typeface="+mn-ea"/>
              <a:sym typeface="+mn-lt"/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10338261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9038756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7739253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439750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140247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3840744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31" name="矩形 30"/>
          <p:cNvSpPr/>
          <p:nvPr/>
        </p:nvSpPr>
        <p:spPr>
          <a:xfrm>
            <a:off x="2541241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1241738" y="5772547"/>
            <a:ext cx="612000" cy="276999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200" b="1" dirty="0">
                <a:cs typeface="+mn-ea"/>
                <a:sym typeface="+mn-lt"/>
              </a:rPr>
              <a:t>20XX</a:t>
            </a:r>
            <a:endParaRPr lang="id-ID" altLang="zh-CN" sz="1200" b="1" dirty="0">
              <a:cs typeface="+mn-ea"/>
              <a:sym typeface="+mn-lt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D90DC0CD-4780-42AB-A4AA-9033686C4F61}"/>
              </a:ext>
            </a:extLst>
          </p:cNvPr>
          <p:cNvSpPr txBox="1"/>
          <p:nvPr/>
        </p:nvSpPr>
        <p:spPr>
          <a:xfrm>
            <a:off x="673102" y="1240823"/>
            <a:ext cx="4467145" cy="75698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000" b="1">
                <a:cs typeface="+mn-ea"/>
                <a:sym typeface="+mn-lt"/>
              </a:rPr>
              <a:t>Unifie</a:t>
            </a:r>
            <a:r>
              <a:rPr lang="en-US" sz="100" b="1">
                <a:cs typeface="+mn-ea"/>
                <a:sym typeface="+mn-lt"/>
              </a:rPr>
              <a:t> </a:t>
            </a:r>
            <a:r>
              <a:rPr lang="en-US" sz="2000" b="1">
                <a:cs typeface="+mn-ea"/>
                <a:sym typeface="+mn-lt"/>
              </a:rPr>
              <a:t>d </a:t>
            </a:r>
            <a:r>
              <a:rPr lang="en-US" sz="2000" b="1" dirty="0">
                <a:cs typeface="+mn-ea"/>
                <a:sym typeface="+mn-lt"/>
              </a:rPr>
              <a:t>fonts make</a:t>
            </a:r>
          </a:p>
          <a:p>
            <a:pPr>
              <a:buSzPct val="25000"/>
            </a:pPr>
            <a:r>
              <a:rPr lang="en-US" sz="2000" b="1" dirty="0"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DA9C372F-D41A-4923-B1AB-82F4D2A2FE55}"/>
              </a:ext>
            </a:extLst>
          </p:cNvPr>
          <p:cNvSpPr txBox="1"/>
          <p:nvPr/>
        </p:nvSpPr>
        <p:spPr>
          <a:xfrm>
            <a:off x="673100" y="1997807"/>
            <a:ext cx="4467146" cy="91109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Theme color </a:t>
            </a:r>
            <a:r>
              <a:rPr lang="en-US" sz="1100">
                <a:cs typeface="+mn-ea"/>
                <a:sym typeface="+mn-lt"/>
              </a:rPr>
              <a:t>makes </a:t>
            </a:r>
            <a:r>
              <a:rPr lang="en-US" sz="100">
                <a:cs typeface="+mn-ea"/>
                <a:sym typeface="+mn-lt"/>
              </a:rPr>
              <a:t> </a:t>
            </a:r>
            <a:r>
              <a:rPr lang="en-US" sz="1100">
                <a:cs typeface="+mn-ea"/>
                <a:sym typeface="+mn-lt"/>
              </a:rPr>
              <a:t>PPT </a:t>
            </a:r>
            <a:r>
              <a:rPr lang="en-US" sz="1100" dirty="0">
                <a:cs typeface="+mn-ea"/>
                <a:sym typeface="+mn-lt"/>
              </a:rPr>
              <a:t>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</p:spTree>
    <p:extLst>
      <p:ext uri="{BB962C8B-B14F-4D97-AF65-F5344CB8AC3E}">
        <p14:creationId xmlns:p14="http://schemas.microsoft.com/office/powerpoint/2010/main" val="36492896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出院标准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8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21474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出院标准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B93BE453-4C82-4D61-8D52-DA37FF4FA916}"/>
              </a:ext>
            </a:extLst>
          </p:cNvPr>
          <p:cNvSpPr/>
          <p:nvPr/>
        </p:nvSpPr>
        <p:spPr>
          <a:xfrm>
            <a:off x="1612089" y="2294464"/>
            <a:ext cx="9001152" cy="631463"/>
          </a:xfrm>
          <a:prstGeom prst="rect">
            <a:avLst/>
          </a:prstGeom>
          <a:pattFill prst="dkDnDiag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3BDD5434-C598-4EE9-ABF3-9F02BDFE8BF5}"/>
              </a:ext>
            </a:extLst>
          </p:cNvPr>
          <p:cNvSpPr/>
          <p:nvPr/>
        </p:nvSpPr>
        <p:spPr bwMode="auto">
          <a:xfrm>
            <a:off x="1132642" y="2110276"/>
            <a:ext cx="943808" cy="9438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B9E4089D-7FFF-466E-B2BB-9E0E84D0852A}"/>
              </a:ext>
            </a:extLst>
          </p:cNvPr>
          <p:cNvSpPr/>
          <p:nvPr/>
        </p:nvSpPr>
        <p:spPr bwMode="auto">
          <a:xfrm>
            <a:off x="3377243" y="2110276"/>
            <a:ext cx="943808" cy="9438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7A161CAC-9469-4274-9533-1369F410174A}"/>
              </a:ext>
            </a:extLst>
          </p:cNvPr>
          <p:cNvSpPr/>
          <p:nvPr/>
        </p:nvSpPr>
        <p:spPr bwMode="auto">
          <a:xfrm>
            <a:off x="7866446" y="2110276"/>
            <a:ext cx="943808" cy="943806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2C3124C0-696A-49B0-B774-4F3E7EEB0FD1}"/>
              </a:ext>
            </a:extLst>
          </p:cNvPr>
          <p:cNvSpPr/>
          <p:nvPr/>
        </p:nvSpPr>
        <p:spPr bwMode="auto">
          <a:xfrm>
            <a:off x="5621844" y="2118897"/>
            <a:ext cx="943808" cy="9438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DB702F39-3A39-4C17-99DF-92A06D6743A0}"/>
              </a:ext>
            </a:extLst>
          </p:cNvPr>
          <p:cNvSpPr/>
          <p:nvPr/>
        </p:nvSpPr>
        <p:spPr bwMode="auto">
          <a:xfrm>
            <a:off x="10111045" y="2118897"/>
            <a:ext cx="943808" cy="94380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836F1339-59A4-4167-9125-6614A294E6A5}"/>
              </a:ext>
            </a:extLst>
          </p:cNvPr>
          <p:cNvSpPr/>
          <p:nvPr/>
        </p:nvSpPr>
        <p:spPr bwMode="auto">
          <a:xfrm>
            <a:off x="8128768" y="2344737"/>
            <a:ext cx="366346" cy="498926"/>
          </a:xfrm>
          <a:custGeom>
            <a:avLst/>
            <a:gdLst>
              <a:gd name="connsiteX0" fmla="*/ 219401 w 444350"/>
              <a:gd name="connsiteY0" fmla="*/ 389328 h 605161"/>
              <a:gd name="connsiteX1" fmla="*/ 216430 w 444350"/>
              <a:gd name="connsiteY1" fmla="*/ 392295 h 605161"/>
              <a:gd name="connsiteX2" fmla="*/ 216430 w 444350"/>
              <a:gd name="connsiteY2" fmla="*/ 405460 h 605161"/>
              <a:gd name="connsiteX3" fmla="*/ 196100 w 444350"/>
              <a:gd name="connsiteY3" fmla="*/ 414731 h 605161"/>
              <a:gd name="connsiteX4" fmla="*/ 187559 w 444350"/>
              <a:gd name="connsiteY4" fmla="*/ 435591 h 605161"/>
              <a:gd name="connsiteX5" fmla="*/ 195635 w 444350"/>
              <a:gd name="connsiteY5" fmla="*/ 456822 h 605161"/>
              <a:gd name="connsiteX6" fmla="*/ 221536 w 444350"/>
              <a:gd name="connsiteY6" fmla="*/ 471192 h 605161"/>
              <a:gd name="connsiteX7" fmla="*/ 231655 w 444350"/>
              <a:gd name="connsiteY7" fmla="*/ 477589 h 605161"/>
              <a:gd name="connsiteX8" fmla="*/ 234533 w 444350"/>
              <a:gd name="connsiteY8" fmla="*/ 486768 h 605161"/>
              <a:gd name="connsiteX9" fmla="*/ 231748 w 444350"/>
              <a:gd name="connsiteY9" fmla="*/ 495019 h 605161"/>
              <a:gd name="connsiteX10" fmla="*/ 223578 w 444350"/>
              <a:gd name="connsiteY10" fmla="*/ 498264 h 605161"/>
              <a:gd name="connsiteX11" fmla="*/ 213088 w 444350"/>
              <a:gd name="connsiteY11" fmla="*/ 494185 h 605161"/>
              <a:gd name="connsiteX12" fmla="*/ 209096 w 444350"/>
              <a:gd name="connsiteY12" fmla="*/ 483894 h 605161"/>
              <a:gd name="connsiteX13" fmla="*/ 205569 w 444350"/>
              <a:gd name="connsiteY13" fmla="*/ 480834 h 605161"/>
              <a:gd name="connsiteX14" fmla="*/ 187559 w 444350"/>
              <a:gd name="connsiteY14" fmla="*/ 481205 h 605161"/>
              <a:gd name="connsiteX15" fmla="*/ 184124 w 444350"/>
              <a:gd name="connsiteY15" fmla="*/ 484821 h 605161"/>
              <a:gd name="connsiteX16" fmla="*/ 193407 w 444350"/>
              <a:gd name="connsiteY16" fmla="*/ 506886 h 605161"/>
              <a:gd name="connsiteX17" fmla="*/ 216709 w 444350"/>
              <a:gd name="connsiteY17" fmla="*/ 516714 h 605161"/>
              <a:gd name="connsiteX18" fmla="*/ 216709 w 444350"/>
              <a:gd name="connsiteY18" fmla="*/ 528952 h 605161"/>
              <a:gd name="connsiteX19" fmla="*/ 219679 w 444350"/>
              <a:gd name="connsiteY19" fmla="*/ 531919 h 605161"/>
              <a:gd name="connsiteX20" fmla="*/ 230262 w 444350"/>
              <a:gd name="connsiteY20" fmla="*/ 531919 h 605161"/>
              <a:gd name="connsiteX21" fmla="*/ 233233 w 444350"/>
              <a:gd name="connsiteY21" fmla="*/ 528952 h 605161"/>
              <a:gd name="connsiteX22" fmla="*/ 233233 w 444350"/>
              <a:gd name="connsiteY22" fmla="*/ 516343 h 605161"/>
              <a:gd name="connsiteX23" fmla="*/ 251336 w 444350"/>
              <a:gd name="connsiteY23" fmla="*/ 507535 h 605161"/>
              <a:gd name="connsiteX24" fmla="*/ 259598 w 444350"/>
              <a:gd name="connsiteY24" fmla="*/ 486490 h 605161"/>
              <a:gd name="connsiteX25" fmla="*/ 251429 w 444350"/>
              <a:gd name="connsiteY25" fmla="*/ 465352 h 605161"/>
              <a:gd name="connsiteX26" fmla="*/ 225806 w 444350"/>
              <a:gd name="connsiteY26" fmla="*/ 450518 h 605161"/>
              <a:gd name="connsiteX27" fmla="*/ 215595 w 444350"/>
              <a:gd name="connsiteY27" fmla="*/ 444028 h 605161"/>
              <a:gd name="connsiteX28" fmla="*/ 212810 w 444350"/>
              <a:gd name="connsiteY28" fmla="*/ 435591 h 605161"/>
              <a:gd name="connsiteX29" fmla="*/ 215409 w 444350"/>
              <a:gd name="connsiteY29" fmla="*/ 427154 h 605161"/>
              <a:gd name="connsiteX30" fmla="*/ 223393 w 444350"/>
              <a:gd name="connsiteY30" fmla="*/ 423817 h 605161"/>
              <a:gd name="connsiteX31" fmla="*/ 231748 w 444350"/>
              <a:gd name="connsiteY31" fmla="*/ 427896 h 605161"/>
              <a:gd name="connsiteX32" fmla="*/ 234718 w 444350"/>
              <a:gd name="connsiteY32" fmla="*/ 437074 h 605161"/>
              <a:gd name="connsiteX33" fmla="*/ 238339 w 444350"/>
              <a:gd name="connsiteY33" fmla="*/ 440134 h 605161"/>
              <a:gd name="connsiteX34" fmla="*/ 256442 w 444350"/>
              <a:gd name="connsiteY34" fmla="*/ 439948 h 605161"/>
              <a:gd name="connsiteX35" fmla="*/ 259876 w 444350"/>
              <a:gd name="connsiteY35" fmla="*/ 436333 h 605161"/>
              <a:gd name="connsiteX36" fmla="*/ 252357 w 444350"/>
              <a:gd name="connsiteY36" fmla="*/ 416585 h 605161"/>
              <a:gd name="connsiteX37" fmla="*/ 233419 w 444350"/>
              <a:gd name="connsiteY37" fmla="*/ 405923 h 605161"/>
              <a:gd name="connsiteX38" fmla="*/ 233419 w 444350"/>
              <a:gd name="connsiteY38" fmla="*/ 392295 h 605161"/>
              <a:gd name="connsiteX39" fmla="*/ 230448 w 444350"/>
              <a:gd name="connsiteY39" fmla="*/ 389328 h 605161"/>
              <a:gd name="connsiteX40" fmla="*/ 209746 w 444350"/>
              <a:gd name="connsiteY40" fmla="*/ 316549 h 605161"/>
              <a:gd name="connsiteX41" fmla="*/ 234533 w 444350"/>
              <a:gd name="connsiteY41" fmla="*/ 316549 h 605161"/>
              <a:gd name="connsiteX42" fmla="*/ 234533 w 444350"/>
              <a:gd name="connsiteY42" fmla="*/ 345197 h 605161"/>
              <a:gd name="connsiteX43" fmla="*/ 337950 w 444350"/>
              <a:gd name="connsiteY43" fmla="*/ 448571 h 605161"/>
              <a:gd name="connsiteX44" fmla="*/ 366728 w 444350"/>
              <a:gd name="connsiteY44" fmla="*/ 448571 h 605161"/>
              <a:gd name="connsiteX45" fmla="*/ 366728 w 444350"/>
              <a:gd name="connsiteY45" fmla="*/ 473139 h 605161"/>
              <a:gd name="connsiteX46" fmla="*/ 337950 w 444350"/>
              <a:gd name="connsiteY46" fmla="*/ 473139 h 605161"/>
              <a:gd name="connsiteX47" fmla="*/ 234533 w 444350"/>
              <a:gd name="connsiteY47" fmla="*/ 576513 h 605161"/>
              <a:gd name="connsiteX48" fmla="*/ 234533 w 444350"/>
              <a:gd name="connsiteY48" fmla="*/ 605161 h 605161"/>
              <a:gd name="connsiteX49" fmla="*/ 209746 w 444350"/>
              <a:gd name="connsiteY49" fmla="*/ 605161 h 605161"/>
              <a:gd name="connsiteX50" fmla="*/ 209746 w 444350"/>
              <a:gd name="connsiteY50" fmla="*/ 576513 h 605161"/>
              <a:gd name="connsiteX51" fmla="*/ 106237 w 444350"/>
              <a:gd name="connsiteY51" fmla="*/ 473139 h 605161"/>
              <a:gd name="connsiteX52" fmla="*/ 77551 w 444350"/>
              <a:gd name="connsiteY52" fmla="*/ 473139 h 605161"/>
              <a:gd name="connsiteX53" fmla="*/ 77551 w 444350"/>
              <a:gd name="connsiteY53" fmla="*/ 448571 h 605161"/>
              <a:gd name="connsiteX54" fmla="*/ 106237 w 444350"/>
              <a:gd name="connsiteY54" fmla="*/ 448571 h 605161"/>
              <a:gd name="connsiteX55" fmla="*/ 209746 w 444350"/>
              <a:gd name="connsiteY55" fmla="*/ 345197 h 605161"/>
              <a:gd name="connsiteX56" fmla="*/ 215397 w 444350"/>
              <a:gd name="connsiteY56" fmla="*/ 387 h 605161"/>
              <a:gd name="connsiteX57" fmla="*/ 267668 w 444350"/>
              <a:gd name="connsiteY57" fmla="*/ 11417 h 605161"/>
              <a:gd name="connsiteX58" fmla="*/ 293015 w 444350"/>
              <a:gd name="connsiteY58" fmla="*/ 35053 h 605161"/>
              <a:gd name="connsiteX59" fmla="*/ 321054 w 444350"/>
              <a:gd name="connsiteY59" fmla="*/ 123667 h 605161"/>
              <a:gd name="connsiteX60" fmla="*/ 319197 w 444350"/>
              <a:gd name="connsiteY60" fmla="*/ 131546 h 605161"/>
              <a:gd name="connsiteX61" fmla="*/ 326624 w 444350"/>
              <a:gd name="connsiteY61" fmla="*/ 168716 h 605161"/>
              <a:gd name="connsiteX62" fmla="*/ 308520 w 444350"/>
              <a:gd name="connsiteY62" fmla="*/ 200046 h 605161"/>
              <a:gd name="connsiteX63" fmla="*/ 295893 w 444350"/>
              <a:gd name="connsiteY63" fmla="*/ 234527 h 605161"/>
              <a:gd name="connsiteX64" fmla="*/ 295893 w 444350"/>
              <a:gd name="connsiteY64" fmla="*/ 277536 h 605161"/>
              <a:gd name="connsiteX65" fmla="*/ 298121 w 444350"/>
              <a:gd name="connsiteY65" fmla="*/ 281059 h 605161"/>
              <a:gd name="connsiteX66" fmla="*/ 428381 w 444350"/>
              <a:gd name="connsiteY66" fmla="*/ 364482 h 605161"/>
              <a:gd name="connsiteX67" fmla="*/ 444350 w 444350"/>
              <a:gd name="connsiteY67" fmla="*/ 398500 h 605161"/>
              <a:gd name="connsiteX68" fmla="*/ 444350 w 444350"/>
              <a:gd name="connsiteY68" fmla="*/ 461067 h 605161"/>
              <a:gd name="connsiteX69" fmla="*/ 388365 w 444350"/>
              <a:gd name="connsiteY69" fmla="*/ 461067 h 605161"/>
              <a:gd name="connsiteX70" fmla="*/ 388365 w 444350"/>
              <a:gd name="connsiteY70" fmla="*/ 448554 h 605161"/>
              <a:gd name="connsiteX71" fmla="*/ 366733 w 444350"/>
              <a:gd name="connsiteY71" fmla="*/ 426956 h 605161"/>
              <a:gd name="connsiteX72" fmla="*/ 356056 w 444350"/>
              <a:gd name="connsiteY72" fmla="*/ 426956 h 605161"/>
              <a:gd name="connsiteX73" fmla="*/ 256156 w 444350"/>
              <a:gd name="connsiteY73" fmla="*/ 327219 h 605161"/>
              <a:gd name="connsiteX74" fmla="*/ 256156 w 444350"/>
              <a:gd name="connsiteY74" fmla="*/ 316560 h 605161"/>
              <a:gd name="connsiteX75" fmla="*/ 234523 w 444350"/>
              <a:gd name="connsiteY75" fmla="*/ 294962 h 605161"/>
              <a:gd name="connsiteX76" fmla="*/ 209734 w 444350"/>
              <a:gd name="connsiteY76" fmla="*/ 294962 h 605161"/>
              <a:gd name="connsiteX77" fmla="*/ 188101 w 444350"/>
              <a:gd name="connsiteY77" fmla="*/ 316560 h 605161"/>
              <a:gd name="connsiteX78" fmla="*/ 188101 w 444350"/>
              <a:gd name="connsiteY78" fmla="*/ 327219 h 605161"/>
              <a:gd name="connsiteX79" fmla="*/ 88202 w 444350"/>
              <a:gd name="connsiteY79" fmla="*/ 426956 h 605161"/>
              <a:gd name="connsiteX80" fmla="*/ 77525 w 444350"/>
              <a:gd name="connsiteY80" fmla="*/ 426956 h 605161"/>
              <a:gd name="connsiteX81" fmla="*/ 55892 w 444350"/>
              <a:gd name="connsiteY81" fmla="*/ 448554 h 605161"/>
              <a:gd name="connsiteX82" fmla="*/ 55985 w 444350"/>
              <a:gd name="connsiteY82" fmla="*/ 448554 h 605161"/>
              <a:gd name="connsiteX83" fmla="*/ 55985 w 444350"/>
              <a:gd name="connsiteY83" fmla="*/ 461067 h 605161"/>
              <a:gd name="connsiteX84" fmla="*/ 0 w 444350"/>
              <a:gd name="connsiteY84" fmla="*/ 461067 h 605161"/>
              <a:gd name="connsiteX85" fmla="*/ 0 w 444350"/>
              <a:gd name="connsiteY85" fmla="*/ 398500 h 605161"/>
              <a:gd name="connsiteX86" fmla="*/ 15969 w 444350"/>
              <a:gd name="connsiteY86" fmla="*/ 364482 h 605161"/>
              <a:gd name="connsiteX87" fmla="*/ 146229 w 444350"/>
              <a:gd name="connsiteY87" fmla="*/ 281059 h 605161"/>
              <a:gd name="connsiteX88" fmla="*/ 148457 w 444350"/>
              <a:gd name="connsiteY88" fmla="*/ 277536 h 605161"/>
              <a:gd name="connsiteX89" fmla="*/ 148457 w 444350"/>
              <a:gd name="connsiteY89" fmla="*/ 234527 h 605161"/>
              <a:gd name="connsiteX90" fmla="*/ 135830 w 444350"/>
              <a:gd name="connsiteY90" fmla="*/ 200046 h 605161"/>
              <a:gd name="connsiteX91" fmla="*/ 117726 w 444350"/>
              <a:gd name="connsiteY91" fmla="*/ 168716 h 605161"/>
              <a:gd name="connsiteX92" fmla="*/ 124782 w 444350"/>
              <a:gd name="connsiteY92" fmla="*/ 131546 h 605161"/>
              <a:gd name="connsiteX93" fmla="*/ 122925 w 444350"/>
              <a:gd name="connsiteY93" fmla="*/ 123667 h 605161"/>
              <a:gd name="connsiteX94" fmla="*/ 122739 w 444350"/>
              <a:gd name="connsiteY94" fmla="*/ 80102 h 605161"/>
              <a:gd name="connsiteX95" fmla="*/ 148179 w 444350"/>
              <a:gd name="connsiteY95" fmla="*/ 35517 h 605161"/>
              <a:gd name="connsiteX96" fmla="*/ 171761 w 444350"/>
              <a:gd name="connsiteY96" fmla="*/ 16144 h 605161"/>
              <a:gd name="connsiteX97" fmla="*/ 194600 w 444350"/>
              <a:gd name="connsiteY97" fmla="*/ 4372 h 605161"/>
              <a:gd name="connsiteX98" fmla="*/ 215397 w 444350"/>
              <a:gd name="connsiteY98" fmla="*/ 387 h 60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44350" h="605161">
                <a:moveTo>
                  <a:pt x="219401" y="389328"/>
                </a:moveTo>
                <a:cubicBezTo>
                  <a:pt x="217823" y="389328"/>
                  <a:pt x="216430" y="390718"/>
                  <a:pt x="216430" y="392295"/>
                </a:cubicBezTo>
                <a:lnTo>
                  <a:pt x="216430" y="405460"/>
                </a:lnTo>
                <a:cubicBezTo>
                  <a:pt x="208168" y="406665"/>
                  <a:pt x="201298" y="409724"/>
                  <a:pt x="196100" y="414731"/>
                </a:cubicBezTo>
                <a:cubicBezTo>
                  <a:pt x="190437" y="420108"/>
                  <a:pt x="187559" y="427154"/>
                  <a:pt x="187559" y="435591"/>
                </a:cubicBezTo>
                <a:cubicBezTo>
                  <a:pt x="187559" y="444955"/>
                  <a:pt x="190158" y="452001"/>
                  <a:pt x="195635" y="456822"/>
                </a:cubicBezTo>
                <a:cubicBezTo>
                  <a:pt x="201113" y="461643"/>
                  <a:pt x="209653" y="466464"/>
                  <a:pt x="221536" y="471192"/>
                </a:cubicBezTo>
                <a:cubicBezTo>
                  <a:pt x="226363" y="473325"/>
                  <a:pt x="229798" y="475364"/>
                  <a:pt x="231655" y="477589"/>
                </a:cubicBezTo>
                <a:cubicBezTo>
                  <a:pt x="233512" y="479722"/>
                  <a:pt x="234533" y="482781"/>
                  <a:pt x="234533" y="486768"/>
                </a:cubicBezTo>
                <a:cubicBezTo>
                  <a:pt x="234533" y="490198"/>
                  <a:pt x="233604" y="492980"/>
                  <a:pt x="231748" y="495019"/>
                </a:cubicBezTo>
                <a:cubicBezTo>
                  <a:pt x="229891" y="497152"/>
                  <a:pt x="227199" y="498264"/>
                  <a:pt x="223578" y="498264"/>
                </a:cubicBezTo>
                <a:cubicBezTo>
                  <a:pt x="219308" y="498264"/>
                  <a:pt x="215780" y="496874"/>
                  <a:pt x="213088" y="494185"/>
                </a:cubicBezTo>
                <a:cubicBezTo>
                  <a:pt x="210860" y="491960"/>
                  <a:pt x="209468" y="488529"/>
                  <a:pt x="209096" y="483894"/>
                </a:cubicBezTo>
                <a:cubicBezTo>
                  <a:pt x="209004" y="482225"/>
                  <a:pt x="207425" y="480834"/>
                  <a:pt x="205569" y="480834"/>
                </a:cubicBezTo>
                <a:lnTo>
                  <a:pt x="187559" y="481205"/>
                </a:lnTo>
                <a:cubicBezTo>
                  <a:pt x="185609" y="481205"/>
                  <a:pt x="184031" y="482781"/>
                  <a:pt x="184124" y="484821"/>
                </a:cubicBezTo>
                <a:cubicBezTo>
                  <a:pt x="184588" y="494278"/>
                  <a:pt x="187745" y="501695"/>
                  <a:pt x="193407" y="506886"/>
                </a:cubicBezTo>
                <a:cubicBezTo>
                  <a:pt x="199627" y="512635"/>
                  <a:pt x="207240" y="515972"/>
                  <a:pt x="216709" y="516714"/>
                </a:cubicBezTo>
                <a:lnTo>
                  <a:pt x="216709" y="528952"/>
                </a:lnTo>
                <a:cubicBezTo>
                  <a:pt x="216709" y="530528"/>
                  <a:pt x="218008" y="531919"/>
                  <a:pt x="219679" y="531919"/>
                </a:cubicBezTo>
                <a:lnTo>
                  <a:pt x="230262" y="531919"/>
                </a:lnTo>
                <a:cubicBezTo>
                  <a:pt x="231933" y="531919"/>
                  <a:pt x="233233" y="530528"/>
                  <a:pt x="233233" y="528952"/>
                </a:cubicBezTo>
                <a:lnTo>
                  <a:pt x="233233" y="516343"/>
                </a:lnTo>
                <a:cubicBezTo>
                  <a:pt x="240567" y="514952"/>
                  <a:pt x="246601" y="512078"/>
                  <a:pt x="251336" y="507535"/>
                </a:cubicBezTo>
                <a:cubicBezTo>
                  <a:pt x="256906" y="502251"/>
                  <a:pt x="259598" y="495205"/>
                  <a:pt x="259598" y="486490"/>
                </a:cubicBezTo>
                <a:cubicBezTo>
                  <a:pt x="259598" y="477404"/>
                  <a:pt x="256906" y="470358"/>
                  <a:pt x="251429" y="465352"/>
                </a:cubicBezTo>
                <a:cubicBezTo>
                  <a:pt x="246044" y="460438"/>
                  <a:pt x="237503" y="455524"/>
                  <a:pt x="225806" y="450518"/>
                </a:cubicBezTo>
                <a:cubicBezTo>
                  <a:pt x="220793" y="448293"/>
                  <a:pt x="217451" y="446067"/>
                  <a:pt x="215595" y="444028"/>
                </a:cubicBezTo>
                <a:cubicBezTo>
                  <a:pt x="213738" y="441895"/>
                  <a:pt x="212810" y="439021"/>
                  <a:pt x="212810" y="435591"/>
                </a:cubicBezTo>
                <a:cubicBezTo>
                  <a:pt x="212810" y="432161"/>
                  <a:pt x="213738" y="429379"/>
                  <a:pt x="215409" y="427154"/>
                </a:cubicBezTo>
                <a:cubicBezTo>
                  <a:pt x="217173" y="424929"/>
                  <a:pt x="219772" y="423817"/>
                  <a:pt x="223393" y="423817"/>
                </a:cubicBezTo>
                <a:cubicBezTo>
                  <a:pt x="226828" y="423817"/>
                  <a:pt x="229705" y="425207"/>
                  <a:pt x="231748" y="427896"/>
                </a:cubicBezTo>
                <a:cubicBezTo>
                  <a:pt x="233419" y="430121"/>
                  <a:pt x="234347" y="433088"/>
                  <a:pt x="234718" y="437074"/>
                </a:cubicBezTo>
                <a:cubicBezTo>
                  <a:pt x="234904" y="438929"/>
                  <a:pt x="236575" y="440134"/>
                  <a:pt x="238339" y="440134"/>
                </a:cubicBezTo>
                <a:lnTo>
                  <a:pt x="256442" y="439948"/>
                </a:lnTo>
                <a:cubicBezTo>
                  <a:pt x="258391" y="439948"/>
                  <a:pt x="259969" y="438280"/>
                  <a:pt x="259876" y="436333"/>
                </a:cubicBezTo>
                <a:cubicBezTo>
                  <a:pt x="259412" y="428452"/>
                  <a:pt x="256906" y="421870"/>
                  <a:pt x="252357" y="416585"/>
                </a:cubicBezTo>
                <a:cubicBezTo>
                  <a:pt x="247530" y="411022"/>
                  <a:pt x="241217" y="407499"/>
                  <a:pt x="233419" y="405923"/>
                </a:cubicBezTo>
                <a:lnTo>
                  <a:pt x="233419" y="392295"/>
                </a:lnTo>
                <a:cubicBezTo>
                  <a:pt x="233419" y="390718"/>
                  <a:pt x="232119" y="389328"/>
                  <a:pt x="230448" y="389328"/>
                </a:cubicBezTo>
                <a:close/>
                <a:moveTo>
                  <a:pt x="209746" y="316549"/>
                </a:moveTo>
                <a:lnTo>
                  <a:pt x="234533" y="316549"/>
                </a:lnTo>
                <a:lnTo>
                  <a:pt x="234533" y="345197"/>
                </a:lnTo>
                <a:cubicBezTo>
                  <a:pt x="288841" y="350945"/>
                  <a:pt x="332287" y="394149"/>
                  <a:pt x="337950" y="448571"/>
                </a:cubicBezTo>
                <a:lnTo>
                  <a:pt x="366728" y="448571"/>
                </a:lnTo>
                <a:lnTo>
                  <a:pt x="366728" y="473139"/>
                </a:lnTo>
                <a:lnTo>
                  <a:pt x="337950" y="473139"/>
                </a:lnTo>
                <a:cubicBezTo>
                  <a:pt x="332287" y="527468"/>
                  <a:pt x="288933" y="570858"/>
                  <a:pt x="234533" y="576513"/>
                </a:cubicBezTo>
                <a:lnTo>
                  <a:pt x="234533" y="605161"/>
                </a:lnTo>
                <a:lnTo>
                  <a:pt x="209746" y="605161"/>
                </a:lnTo>
                <a:lnTo>
                  <a:pt x="209746" y="576513"/>
                </a:lnTo>
                <a:cubicBezTo>
                  <a:pt x="155438" y="570858"/>
                  <a:pt x="111992" y="527561"/>
                  <a:pt x="106237" y="473139"/>
                </a:cubicBezTo>
                <a:lnTo>
                  <a:pt x="77551" y="473139"/>
                </a:lnTo>
                <a:lnTo>
                  <a:pt x="77551" y="448571"/>
                </a:lnTo>
                <a:lnTo>
                  <a:pt x="106237" y="448571"/>
                </a:lnTo>
                <a:cubicBezTo>
                  <a:pt x="111992" y="394334"/>
                  <a:pt x="155253" y="350945"/>
                  <a:pt x="209746" y="345197"/>
                </a:cubicBezTo>
                <a:close/>
                <a:moveTo>
                  <a:pt x="215397" y="387"/>
                </a:moveTo>
                <a:cubicBezTo>
                  <a:pt x="238051" y="-1560"/>
                  <a:pt x="255320" y="4094"/>
                  <a:pt x="267668" y="11417"/>
                </a:cubicBezTo>
                <a:cubicBezTo>
                  <a:pt x="285959" y="21520"/>
                  <a:pt x="293015" y="35053"/>
                  <a:pt x="293015" y="35053"/>
                </a:cubicBezTo>
                <a:cubicBezTo>
                  <a:pt x="293015" y="35053"/>
                  <a:pt x="335259" y="38020"/>
                  <a:pt x="321054" y="123667"/>
                </a:cubicBezTo>
                <a:cubicBezTo>
                  <a:pt x="320497" y="126263"/>
                  <a:pt x="319939" y="128951"/>
                  <a:pt x="319197" y="131546"/>
                </a:cubicBezTo>
                <a:cubicBezTo>
                  <a:pt x="327181" y="131546"/>
                  <a:pt x="335351" y="137756"/>
                  <a:pt x="326624" y="168716"/>
                </a:cubicBezTo>
                <a:cubicBezTo>
                  <a:pt x="319661" y="192816"/>
                  <a:pt x="313348" y="199675"/>
                  <a:pt x="308520" y="200046"/>
                </a:cubicBezTo>
                <a:cubicBezTo>
                  <a:pt x="306756" y="210891"/>
                  <a:pt x="302578" y="223033"/>
                  <a:pt x="295893" y="234527"/>
                </a:cubicBezTo>
                <a:lnTo>
                  <a:pt x="295893" y="277536"/>
                </a:lnTo>
                <a:cubicBezTo>
                  <a:pt x="295893" y="279019"/>
                  <a:pt x="296729" y="280317"/>
                  <a:pt x="298121" y="281059"/>
                </a:cubicBezTo>
                <a:cubicBezTo>
                  <a:pt x="310469" y="287176"/>
                  <a:pt x="371653" y="318043"/>
                  <a:pt x="428381" y="364482"/>
                </a:cubicBezTo>
                <a:cubicBezTo>
                  <a:pt x="438501" y="372824"/>
                  <a:pt x="444350" y="385430"/>
                  <a:pt x="444350" y="398500"/>
                </a:cubicBezTo>
                <a:lnTo>
                  <a:pt x="444350" y="461067"/>
                </a:lnTo>
                <a:lnTo>
                  <a:pt x="388365" y="461067"/>
                </a:lnTo>
                <a:lnTo>
                  <a:pt x="388365" y="448554"/>
                </a:lnTo>
                <a:cubicBezTo>
                  <a:pt x="388365" y="436596"/>
                  <a:pt x="378709" y="426956"/>
                  <a:pt x="366733" y="426956"/>
                </a:cubicBezTo>
                <a:lnTo>
                  <a:pt x="356056" y="426956"/>
                </a:lnTo>
                <a:cubicBezTo>
                  <a:pt x="343522" y="378200"/>
                  <a:pt x="304899" y="339640"/>
                  <a:pt x="256156" y="327219"/>
                </a:cubicBezTo>
                <a:lnTo>
                  <a:pt x="256156" y="316560"/>
                </a:lnTo>
                <a:cubicBezTo>
                  <a:pt x="256156" y="304602"/>
                  <a:pt x="246500" y="294962"/>
                  <a:pt x="234523" y="294962"/>
                </a:cubicBezTo>
                <a:lnTo>
                  <a:pt x="209734" y="294962"/>
                </a:lnTo>
                <a:cubicBezTo>
                  <a:pt x="197757" y="294962"/>
                  <a:pt x="188101" y="304602"/>
                  <a:pt x="188101" y="316560"/>
                </a:cubicBezTo>
                <a:lnTo>
                  <a:pt x="188101" y="327219"/>
                </a:lnTo>
                <a:cubicBezTo>
                  <a:pt x="139266" y="339547"/>
                  <a:pt x="100643" y="378200"/>
                  <a:pt x="88202" y="426956"/>
                </a:cubicBezTo>
                <a:lnTo>
                  <a:pt x="77525" y="426956"/>
                </a:lnTo>
                <a:cubicBezTo>
                  <a:pt x="65548" y="426956"/>
                  <a:pt x="55892" y="436596"/>
                  <a:pt x="55892" y="448554"/>
                </a:cubicBezTo>
                <a:lnTo>
                  <a:pt x="55985" y="448554"/>
                </a:lnTo>
                <a:lnTo>
                  <a:pt x="55985" y="461067"/>
                </a:lnTo>
                <a:lnTo>
                  <a:pt x="0" y="461067"/>
                </a:lnTo>
                <a:lnTo>
                  <a:pt x="0" y="398500"/>
                </a:lnTo>
                <a:cubicBezTo>
                  <a:pt x="0" y="385430"/>
                  <a:pt x="5849" y="372824"/>
                  <a:pt x="15969" y="364482"/>
                </a:cubicBezTo>
                <a:cubicBezTo>
                  <a:pt x="72697" y="318043"/>
                  <a:pt x="133881" y="287176"/>
                  <a:pt x="146229" y="281059"/>
                </a:cubicBezTo>
                <a:cubicBezTo>
                  <a:pt x="147621" y="280502"/>
                  <a:pt x="148457" y="279112"/>
                  <a:pt x="148457" y="277536"/>
                </a:cubicBezTo>
                <a:lnTo>
                  <a:pt x="148457" y="234527"/>
                </a:lnTo>
                <a:cubicBezTo>
                  <a:pt x="141772" y="223033"/>
                  <a:pt x="137594" y="210983"/>
                  <a:pt x="135830" y="200046"/>
                </a:cubicBezTo>
                <a:cubicBezTo>
                  <a:pt x="131002" y="199675"/>
                  <a:pt x="124596" y="192816"/>
                  <a:pt x="117726" y="168716"/>
                </a:cubicBezTo>
                <a:cubicBezTo>
                  <a:pt x="109091" y="138220"/>
                  <a:pt x="116890" y="131824"/>
                  <a:pt x="124782" y="131546"/>
                </a:cubicBezTo>
                <a:cubicBezTo>
                  <a:pt x="124039" y="128951"/>
                  <a:pt x="123482" y="126263"/>
                  <a:pt x="122925" y="123667"/>
                </a:cubicBezTo>
                <a:cubicBezTo>
                  <a:pt x="119861" y="108188"/>
                  <a:pt x="119118" y="93820"/>
                  <a:pt x="122739" y="80102"/>
                </a:cubicBezTo>
                <a:cubicBezTo>
                  <a:pt x="127010" y="61749"/>
                  <a:pt x="137037" y="46918"/>
                  <a:pt x="148179" y="35517"/>
                </a:cubicBezTo>
                <a:cubicBezTo>
                  <a:pt x="155235" y="28102"/>
                  <a:pt x="163219" y="21428"/>
                  <a:pt x="171761" y="16144"/>
                </a:cubicBezTo>
                <a:cubicBezTo>
                  <a:pt x="178631" y="11324"/>
                  <a:pt x="186337" y="7246"/>
                  <a:pt x="194600" y="4372"/>
                </a:cubicBezTo>
                <a:cubicBezTo>
                  <a:pt x="201192" y="2148"/>
                  <a:pt x="208156" y="757"/>
                  <a:pt x="215397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B55CD0F9-1586-4E84-B404-1D32A548C77E}"/>
              </a:ext>
            </a:extLst>
          </p:cNvPr>
          <p:cNvSpPr/>
          <p:nvPr/>
        </p:nvSpPr>
        <p:spPr bwMode="auto">
          <a:xfrm>
            <a:off x="5892971" y="2329626"/>
            <a:ext cx="366346" cy="498926"/>
          </a:xfrm>
          <a:custGeom>
            <a:avLst/>
            <a:gdLst>
              <a:gd name="connsiteX0" fmla="*/ 219401 w 444350"/>
              <a:gd name="connsiteY0" fmla="*/ 389328 h 605161"/>
              <a:gd name="connsiteX1" fmla="*/ 216430 w 444350"/>
              <a:gd name="connsiteY1" fmla="*/ 392295 h 605161"/>
              <a:gd name="connsiteX2" fmla="*/ 216430 w 444350"/>
              <a:gd name="connsiteY2" fmla="*/ 405460 h 605161"/>
              <a:gd name="connsiteX3" fmla="*/ 196100 w 444350"/>
              <a:gd name="connsiteY3" fmla="*/ 414731 h 605161"/>
              <a:gd name="connsiteX4" fmla="*/ 187559 w 444350"/>
              <a:gd name="connsiteY4" fmla="*/ 435591 h 605161"/>
              <a:gd name="connsiteX5" fmla="*/ 195635 w 444350"/>
              <a:gd name="connsiteY5" fmla="*/ 456822 h 605161"/>
              <a:gd name="connsiteX6" fmla="*/ 221536 w 444350"/>
              <a:gd name="connsiteY6" fmla="*/ 471192 h 605161"/>
              <a:gd name="connsiteX7" fmla="*/ 231655 w 444350"/>
              <a:gd name="connsiteY7" fmla="*/ 477589 h 605161"/>
              <a:gd name="connsiteX8" fmla="*/ 234533 w 444350"/>
              <a:gd name="connsiteY8" fmla="*/ 486768 h 605161"/>
              <a:gd name="connsiteX9" fmla="*/ 231748 w 444350"/>
              <a:gd name="connsiteY9" fmla="*/ 495019 h 605161"/>
              <a:gd name="connsiteX10" fmla="*/ 223578 w 444350"/>
              <a:gd name="connsiteY10" fmla="*/ 498264 h 605161"/>
              <a:gd name="connsiteX11" fmla="*/ 213088 w 444350"/>
              <a:gd name="connsiteY11" fmla="*/ 494185 h 605161"/>
              <a:gd name="connsiteX12" fmla="*/ 209096 w 444350"/>
              <a:gd name="connsiteY12" fmla="*/ 483894 h 605161"/>
              <a:gd name="connsiteX13" fmla="*/ 205569 w 444350"/>
              <a:gd name="connsiteY13" fmla="*/ 480834 h 605161"/>
              <a:gd name="connsiteX14" fmla="*/ 187559 w 444350"/>
              <a:gd name="connsiteY14" fmla="*/ 481205 h 605161"/>
              <a:gd name="connsiteX15" fmla="*/ 184124 w 444350"/>
              <a:gd name="connsiteY15" fmla="*/ 484821 h 605161"/>
              <a:gd name="connsiteX16" fmla="*/ 193407 w 444350"/>
              <a:gd name="connsiteY16" fmla="*/ 506886 h 605161"/>
              <a:gd name="connsiteX17" fmla="*/ 216709 w 444350"/>
              <a:gd name="connsiteY17" fmla="*/ 516714 h 605161"/>
              <a:gd name="connsiteX18" fmla="*/ 216709 w 444350"/>
              <a:gd name="connsiteY18" fmla="*/ 528952 h 605161"/>
              <a:gd name="connsiteX19" fmla="*/ 219679 w 444350"/>
              <a:gd name="connsiteY19" fmla="*/ 531919 h 605161"/>
              <a:gd name="connsiteX20" fmla="*/ 230262 w 444350"/>
              <a:gd name="connsiteY20" fmla="*/ 531919 h 605161"/>
              <a:gd name="connsiteX21" fmla="*/ 233233 w 444350"/>
              <a:gd name="connsiteY21" fmla="*/ 528952 h 605161"/>
              <a:gd name="connsiteX22" fmla="*/ 233233 w 444350"/>
              <a:gd name="connsiteY22" fmla="*/ 516343 h 605161"/>
              <a:gd name="connsiteX23" fmla="*/ 251336 w 444350"/>
              <a:gd name="connsiteY23" fmla="*/ 507535 h 605161"/>
              <a:gd name="connsiteX24" fmla="*/ 259598 w 444350"/>
              <a:gd name="connsiteY24" fmla="*/ 486490 h 605161"/>
              <a:gd name="connsiteX25" fmla="*/ 251429 w 444350"/>
              <a:gd name="connsiteY25" fmla="*/ 465352 h 605161"/>
              <a:gd name="connsiteX26" fmla="*/ 225806 w 444350"/>
              <a:gd name="connsiteY26" fmla="*/ 450518 h 605161"/>
              <a:gd name="connsiteX27" fmla="*/ 215595 w 444350"/>
              <a:gd name="connsiteY27" fmla="*/ 444028 h 605161"/>
              <a:gd name="connsiteX28" fmla="*/ 212810 w 444350"/>
              <a:gd name="connsiteY28" fmla="*/ 435591 h 605161"/>
              <a:gd name="connsiteX29" fmla="*/ 215409 w 444350"/>
              <a:gd name="connsiteY29" fmla="*/ 427154 h 605161"/>
              <a:gd name="connsiteX30" fmla="*/ 223393 w 444350"/>
              <a:gd name="connsiteY30" fmla="*/ 423817 h 605161"/>
              <a:gd name="connsiteX31" fmla="*/ 231748 w 444350"/>
              <a:gd name="connsiteY31" fmla="*/ 427896 h 605161"/>
              <a:gd name="connsiteX32" fmla="*/ 234718 w 444350"/>
              <a:gd name="connsiteY32" fmla="*/ 437074 h 605161"/>
              <a:gd name="connsiteX33" fmla="*/ 238339 w 444350"/>
              <a:gd name="connsiteY33" fmla="*/ 440134 h 605161"/>
              <a:gd name="connsiteX34" fmla="*/ 256442 w 444350"/>
              <a:gd name="connsiteY34" fmla="*/ 439948 h 605161"/>
              <a:gd name="connsiteX35" fmla="*/ 259876 w 444350"/>
              <a:gd name="connsiteY35" fmla="*/ 436333 h 605161"/>
              <a:gd name="connsiteX36" fmla="*/ 252357 w 444350"/>
              <a:gd name="connsiteY36" fmla="*/ 416585 h 605161"/>
              <a:gd name="connsiteX37" fmla="*/ 233419 w 444350"/>
              <a:gd name="connsiteY37" fmla="*/ 405923 h 605161"/>
              <a:gd name="connsiteX38" fmla="*/ 233419 w 444350"/>
              <a:gd name="connsiteY38" fmla="*/ 392295 h 605161"/>
              <a:gd name="connsiteX39" fmla="*/ 230448 w 444350"/>
              <a:gd name="connsiteY39" fmla="*/ 389328 h 605161"/>
              <a:gd name="connsiteX40" fmla="*/ 209746 w 444350"/>
              <a:gd name="connsiteY40" fmla="*/ 316549 h 605161"/>
              <a:gd name="connsiteX41" fmla="*/ 234533 w 444350"/>
              <a:gd name="connsiteY41" fmla="*/ 316549 h 605161"/>
              <a:gd name="connsiteX42" fmla="*/ 234533 w 444350"/>
              <a:gd name="connsiteY42" fmla="*/ 345197 h 605161"/>
              <a:gd name="connsiteX43" fmla="*/ 337950 w 444350"/>
              <a:gd name="connsiteY43" fmla="*/ 448571 h 605161"/>
              <a:gd name="connsiteX44" fmla="*/ 366728 w 444350"/>
              <a:gd name="connsiteY44" fmla="*/ 448571 h 605161"/>
              <a:gd name="connsiteX45" fmla="*/ 366728 w 444350"/>
              <a:gd name="connsiteY45" fmla="*/ 473139 h 605161"/>
              <a:gd name="connsiteX46" fmla="*/ 337950 w 444350"/>
              <a:gd name="connsiteY46" fmla="*/ 473139 h 605161"/>
              <a:gd name="connsiteX47" fmla="*/ 234533 w 444350"/>
              <a:gd name="connsiteY47" fmla="*/ 576513 h 605161"/>
              <a:gd name="connsiteX48" fmla="*/ 234533 w 444350"/>
              <a:gd name="connsiteY48" fmla="*/ 605161 h 605161"/>
              <a:gd name="connsiteX49" fmla="*/ 209746 w 444350"/>
              <a:gd name="connsiteY49" fmla="*/ 605161 h 605161"/>
              <a:gd name="connsiteX50" fmla="*/ 209746 w 444350"/>
              <a:gd name="connsiteY50" fmla="*/ 576513 h 605161"/>
              <a:gd name="connsiteX51" fmla="*/ 106237 w 444350"/>
              <a:gd name="connsiteY51" fmla="*/ 473139 h 605161"/>
              <a:gd name="connsiteX52" fmla="*/ 77551 w 444350"/>
              <a:gd name="connsiteY52" fmla="*/ 473139 h 605161"/>
              <a:gd name="connsiteX53" fmla="*/ 77551 w 444350"/>
              <a:gd name="connsiteY53" fmla="*/ 448571 h 605161"/>
              <a:gd name="connsiteX54" fmla="*/ 106237 w 444350"/>
              <a:gd name="connsiteY54" fmla="*/ 448571 h 605161"/>
              <a:gd name="connsiteX55" fmla="*/ 209746 w 444350"/>
              <a:gd name="connsiteY55" fmla="*/ 345197 h 605161"/>
              <a:gd name="connsiteX56" fmla="*/ 215397 w 444350"/>
              <a:gd name="connsiteY56" fmla="*/ 387 h 605161"/>
              <a:gd name="connsiteX57" fmla="*/ 267668 w 444350"/>
              <a:gd name="connsiteY57" fmla="*/ 11417 h 605161"/>
              <a:gd name="connsiteX58" fmla="*/ 293015 w 444350"/>
              <a:gd name="connsiteY58" fmla="*/ 35053 h 605161"/>
              <a:gd name="connsiteX59" fmla="*/ 321054 w 444350"/>
              <a:gd name="connsiteY59" fmla="*/ 123667 h 605161"/>
              <a:gd name="connsiteX60" fmla="*/ 319197 w 444350"/>
              <a:gd name="connsiteY60" fmla="*/ 131546 h 605161"/>
              <a:gd name="connsiteX61" fmla="*/ 326624 w 444350"/>
              <a:gd name="connsiteY61" fmla="*/ 168716 h 605161"/>
              <a:gd name="connsiteX62" fmla="*/ 308520 w 444350"/>
              <a:gd name="connsiteY62" fmla="*/ 200046 h 605161"/>
              <a:gd name="connsiteX63" fmla="*/ 295893 w 444350"/>
              <a:gd name="connsiteY63" fmla="*/ 234527 h 605161"/>
              <a:gd name="connsiteX64" fmla="*/ 295893 w 444350"/>
              <a:gd name="connsiteY64" fmla="*/ 277536 h 605161"/>
              <a:gd name="connsiteX65" fmla="*/ 298121 w 444350"/>
              <a:gd name="connsiteY65" fmla="*/ 281059 h 605161"/>
              <a:gd name="connsiteX66" fmla="*/ 428381 w 444350"/>
              <a:gd name="connsiteY66" fmla="*/ 364482 h 605161"/>
              <a:gd name="connsiteX67" fmla="*/ 444350 w 444350"/>
              <a:gd name="connsiteY67" fmla="*/ 398500 h 605161"/>
              <a:gd name="connsiteX68" fmla="*/ 444350 w 444350"/>
              <a:gd name="connsiteY68" fmla="*/ 461067 h 605161"/>
              <a:gd name="connsiteX69" fmla="*/ 388365 w 444350"/>
              <a:gd name="connsiteY69" fmla="*/ 461067 h 605161"/>
              <a:gd name="connsiteX70" fmla="*/ 388365 w 444350"/>
              <a:gd name="connsiteY70" fmla="*/ 448554 h 605161"/>
              <a:gd name="connsiteX71" fmla="*/ 366733 w 444350"/>
              <a:gd name="connsiteY71" fmla="*/ 426956 h 605161"/>
              <a:gd name="connsiteX72" fmla="*/ 356056 w 444350"/>
              <a:gd name="connsiteY72" fmla="*/ 426956 h 605161"/>
              <a:gd name="connsiteX73" fmla="*/ 256156 w 444350"/>
              <a:gd name="connsiteY73" fmla="*/ 327219 h 605161"/>
              <a:gd name="connsiteX74" fmla="*/ 256156 w 444350"/>
              <a:gd name="connsiteY74" fmla="*/ 316560 h 605161"/>
              <a:gd name="connsiteX75" fmla="*/ 234523 w 444350"/>
              <a:gd name="connsiteY75" fmla="*/ 294962 h 605161"/>
              <a:gd name="connsiteX76" fmla="*/ 209734 w 444350"/>
              <a:gd name="connsiteY76" fmla="*/ 294962 h 605161"/>
              <a:gd name="connsiteX77" fmla="*/ 188101 w 444350"/>
              <a:gd name="connsiteY77" fmla="*/ 316560 h 605161"/>
              <a:gd name="connsiteX78" fmla="*/ 188101 w 444350"/>
              <a:gd name="connsiteY78" fmla="*/ 327219 h 605161"/>
              <a:gd name="connsiteX79" fmla="*/ 88202 w 444350"/>
              <a:gd name="connsiteY79" fmla="*/ 426956 h 605161"/>
              <a:gd name="connsiteX80" fmla="*/ 77525 w 444350"/>
              <a:gd name="connsiteY80" fmla="*/ 426956 h 605161"/>
              <a:gd name="connsiteX81" fmla="*/ 55892 w 444350"/>
              <a:gd name="connsiteY81" fmla="*/ 448554 h 605161"/>
              <a:gd name="connsiteX82" fmla="*/ 55985 w 444350"/>
              <a:gd name="connsiteY82" fmla="*/ 448554 h 605161"/>
              <a:gd name="connsiteX83" fmla="*/ 55985 w 444350"/>
              <a:gd name="connsiteY83" fmla="*/ 461067 h 605161"/>
              <a:gd name="connsiteX84" fmla="*/ 0 w 444350"/>
              <a:gd name="connsiteY84" fmla="*/ 461067 h 605161"/>
              <a:gd name="connsiteX85" fmla="*/ 0 w 444350"/>
              <a:gd name="connsiteY85" fmla="*/ 398500 h 605161"/>
              <a:gd name="connsiteX86" fmla="*/ 15969 w 444350"/>
              <a:gd name="connsiteY86" fmla="*/ 364482 h 605161"/>
              <a:gd name="connsiteX87" fmla="*/ 146229 w 444350"/>
              <a:gd name="connsiteY87" fmla="*/ 281059 h 605161"/>
              <a:gd name="connsiteX88" fmla="*/ 148457 w 444350"/>
              <a:gd name="connsiteY88" fmla="*/ 277536 h 605161"/>
              <a:gd name="connsiteX89" fmla="*/ 148457 w 444350"/>
              <a:gd name="connsiteY89" fmla="*/ 234527 h 605161"/>
              <a:gd name="connsiteX90" fmla="*/ 135830 w 444350"/>
              <a:gd name="connsiteY90" fmla="*/ 200046 h 605161"/>
              <a:gd name="connsiteX91" fmla="*/ 117726 w 444350"/>
              <a:gd name="connsiteY91" fmla="*/ 168716 h 605161"/>
              <a:gd name="connsiteX92" fmla="*/ 124782 w 444350"/>
              <a:gd name="connsiteY92" fmla="*/ 131546 h 605161"/>
              <a:gd name="connsiteX93" fmla="*/ 122925 w 444350"/>
              <a:gd name="connsiteY93" fmla="*/ 123667 h 605161"/>
              <a:gd name="connsiteX94" fmla="*/ 122739 w 444350"/>
              <a:gd name="connsiteY94" fmla="*/ 80102 h 605161"/>
              <a:gd name="connsiteX95" fmla="*/ 148179 w 444350"/>
              <a:gd name="connsiteY95" fmla="*/ 35517 h 605161"/>
              <a:gd name="connsiteX96" fmla="*/ 171761 w 444350"/>
              <a:gd name="connsiteY96" fmla="*/ 16144 h 605161"/>
              <a:gd name="connsiteX97" fmla="*/ 194600 w 444350"/>
              <a:gd name="connsiteY97" fmla="*/ 4372 h 605161"/>
              <a:gd name="connsiteX98" fmla="*/ 215397 w 444350"/>
              <a:gd name="connsiteY98" fmla="*/ 387 h 60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44350" h="605161">
                <a:moveTo>
                  <a:pt x="219401" y="389328"/>
                </a:moveTo>
                <a:cubicBezTo>
                  <a:pt x="217823" y="389328"/>
                  <a:pt x="216430" y="390718"/>
                  <a:pt x="216430" y="392295"/>
                </a:cubicBezTo>
                <a:lnTo>
                  <a:pt x="216430" y="405460"/>
                </a:lnTo>
                <a:cubicBezTo>
                  <a:pt x="208168" y="406665"/>
                  <a:pt x="201298" y="409724"/>
                  <a:pt x="196100" y="414731"/>
                </a:cubicBezTo>
                <a:cubicBezTo>
                  <a:pt x="190437" y="420108"/>
                  <a:pt x="187559" y="427154"/>
                  <a:pt x="187559" y="435591"/>
                </a:cubicBezTo>
                <a:cubicBezTo>
                  <a:pt x="187559" y="444955"/>
                  <a:pt x="190158" y="452001"/>
                  <a:pt x="195635" y="456822"/>
                </a:cubicBezTo>
                <a:cubicBezTo>
                  <a:pt x="201113" y="461643"/>
                  <a:pt x="209653" y="466464"/>
                  <a:pt x="221536" y="471192"/>
                </a:cubicBezTo>
                <a:cubicBezTo>
                  <a:pt x="226363" y="473325"/>
                  <a:pt x="229798" y="475364"/>
                  <a:pt x="231655" y="477589"/>
                </a:cubicBezTo>
                <a:cubicBezTo>
                  <a:pt x="233512" y="479722"/>
                  <a:pt x="234533" y="482781"/>
                  <a:pt x="234533" y="486768"/>
                </a:cubicBezTo>
                <a:cubicBezTo>
                  <a:pt x="234533" y="490198"/>
                  <a:pt x="233604" y="492980"/>
                  <a:pt x="231748" y="495019"/>
                </a:cubicBezTo>
                <a:cubicBezTo>
                  <a:pt x="229891" y="497152"/>
                  <a:pt x="227199" y="498264"/>
                  <a:pt x="223578" y="498264"/>
                </a:cubicBezTo>
                <a:cubicBezTo>
                  <a:pt x="219308" y="498264"/>
                  <a:pt x="215780" y="496874"/>
                  <a:pt x="213088" y="494185"/>
                </a:cubicBezTo>
                <a:cubicBezTo>
                  <a:pt x="210860" y="491960"/>
                  <a:pt x="209468" y="488529"/>
                  <a:pt x="209096" y="483894"/>
                </a:cubicBezTo>
                <a:cubicBezTo>
                  <a:pt x="209004" y="482225"/>
                  <a:pt x="207425" y="480834"/>
                  <a:pt x="205569" y="480834"/>
                </a:cubicBezTo>
                <a:lnTo>
                  <a:pt x="187559" y="481205"/>
                </a:lnTo>
                <a:cubicBezTo>
                  <a:pt x="185609" y="481205"/>
                  <a:pt x="184031" y="482781"/>
                  <a:pt x="184124" y="484821"/>
                </a:cubicBezTo>
                <a:cubicBezTo>
                  <a:pt x="184588" y="494278"/>
                  <a:pt x="187745" y="501695"/>
                  <a:pt x="193407" y="506886"/>
                </a:cubicBezTo>
                <a:cubicBezTo>
                  <a:pt x="199627" y="512635"/>
                  <a:pt x="207240" y="515972"/>
                  <a:pt x="216709" y="516714"/>
                </a:cubicBezTo>
                <a:lnTo>
                  <a:pt x="216709" y="528952"/>
                </a:lnTo>
                <a:cubicBezTo>
                  <a:pt x="216709" y="530528"/>
                  <a:pt x="218008" y="531919"/>
                  <a:pt x="219679" y="531919"/>
                </a:cubicBezTo>
                <a:lnTo>
                  <a:pt x="230262" y="531919"/>
                </a:lnTo>
                <a:cubicBezTo>
                  <a:pt x="231933" y="531919"/>
                  <a:pt x="233233" y="530528"/>
                  <a:pt x="233233" y="528952"/>
                </a:cubicBezTo>
                <a:lnTo>
                  <a:pt x="233233" y="516343"/>
                </a:lnTo>
                <a:cubicBezTo>
                  <a:pt x="240567" y="514952"/>
                  <a:pt x="246601" y="512078"/>
                  <a:pt x="251336" y="507535"/>
                </a:cubicBezTo>
                <a:cubicBezTo>
                  <a:pt x="256906" y="502251"/>
                  <a:pt x="259598" y="495205"/>
                  <a:pt x="259598" y="486490"/>
                </a:cubicBezTo>
                <a:cubicBezTo>
                  <a:pt x="259598" y="477404"/>
                  <a:pt x="256906" y="470358"/>
                  <a:pt x="251429" y="465352"/>
                </a:cubicBezTo>
                <a:cubicBezTo>
                  <a:pt x="246044" y="460438"/>
                  <a:pt x="237503" y="455524"/>
                  <a:pt x="225806" y="450518"/>
                </a:cubicBezTo>
                <a:cubicBezTo>
                  <a:pt x="220793" y="448293"/>
                  <a:pt x="217451" y="446067"/>
                  <a:pt x="215595" y="444028"/>
                </a:cubicBezTo>
                <a:cubicBezTo>
                  <a:pt x="213738" y="441895"/>
                  <a:pt x="212810" y="439021"/>
                  <a:pt x="212810" y="435591"/>
                </a:cubicBezTo>
                <a:cubicBezTo>
                  <a:pt x="212810" y="432161"/>
                  <a:pt x="213738" y="429379"/>
                  <a:pt x="215409" y="427154"/>
                </a:cubicBezTo>
                <a:cubicBezTo>
                  <a:pt x="217173" y="424929"/>
                  <a:pt x="219772" y="423817"/>
                  <a:pt x="223393" y="423817"/>
                </a:cubicBezTo>
                <a:cubicBezTo>
                  <a:pt x="226828" y="423817"/>
                  <a:pt x="229705" y="425207"/>
                  <a:pt x="231748" y="427896"/>
                </a:cubicBezTo>
                <a:cubicBezTo>
                  <a:pt x="233419" y="430121"/>
                  <a:pt x="234347" y="433088"/>
                  <a:pt x="234718" y="437074"/>
                </a:cubicBezTo>
                <a:cubicBezTo>
                  <a:pt x="234904" y="438929"/>
                  <a:pt x="236575" y="440134"/>
                  <a:pt x="238339" y="440134"/>
                </a:cubicBezTo>
                <a:lnTo>
                  <a:pt x="256442" y="439948"/>
                </a:lnTo>
                <a:cubicBezTo>
                  <a:pt x="258391" y="439948"/>
                  <a:pt x="259969" y="438280"/>
                  <a:pt x="259876" y="436333"/>
                </a:cubicBezTo>
                <a:cubicBezTo>
                  <a:pt x="259412" y="428452"/>
                  <a:pt x="256906" y="421870"/>
                  <a:pt x="252357" y="416585"/>
                </a:cubicBezTo>
                <a:cubicBezTo>
                  <a:pt x="247530" y="411022"/>
                  <a:pt x="241217" y="407499"/>
                  <a:pt x="233419" y="405923"/>
                </a:cubicBezTo>
                <a:lnTo>
                  <a:pt x="233419" y="392295"/>
                </a:lnTo>
                <a:cubicBezTo>
                  <a:pt x="233419" y="390718"/>
                  <a:pt x="232119" y="389328"/>
                  <a:pt x="230448" y="389328"/>
                </a:cubicBezTo>
                <a:close/>
                <a:moveTo>
                  <a:pt x="209746" y="316549"/>
                </a:moveTo>
                <a:lnTo>
                  <a:pt x="234533" y="316549"/>
                </a:lnTo>
                <a:lnTo>
                  <a:pt x="234533" y="345197"/>
                </a:lnTo>
                <a:cubicBezTo>
                  <a:pt x="288841" y="350945"/>
                  <a:pt x="332287" y="394149"/>
                  <a:pt x="337950" y="448571"/>
                </a:cubicBezTo>
                <a:lnTo>
                  <a:pt x="366728" y="448571"/>
                </a:lnTo>
                <a:lnTo>
                  <a:pt x="366728" y="473139"/>
                </a:lnTo>
                <a:lnTo>
                  <a:pt x="337950" y="473139"/>
                </a:lnTo>
                <a:cubicBezTo>
                  <a:pt x="332287" y="527468"/>
                  <a:pt x="288933" y="570858"/>
                  <a:pt x="234533" y="576513"/>
                </a:cubicBezTo>
                <a:lnTo>
                  <a:pt x="234533" y="605161"/>
                </a:lnTo>
                <a:lnTo>
                  <a:pt x="209746" y="605161"/>
                </a:lnTo>
                <a:lnTo>
                  <a:pt x="209746" y="576513"/>
                </a:lnTo>
                <a:cubicBezTo>
                  <a:pt x="155438" y="570858"/>
                  <a:pt x="111992" y="527561"/>
                  <a:pt x="106237" y="473139"/>
                </a:cubicBezTo>
                <a:lnTo>
                  <a:pt x="77551" y="473139"/>
                </a:lnTo>
                <a:lnTo>
                  <a:pt x="77551" y="448571"/>
                </a:lnTo>
                <a:lnTo>
                  <a:pt x="106237" y="448571"/>
                </a:lnTo>
                <a:cubicBezTo>
                  <a:pt x="111992" y="394334"/>
                  <a:pt x="155253" y="350945"/>
                  <a:pt x="209746" y="345197"/>
                </a:cubicBezTo>
                <a:close/>
                <a:moveTo>
                  <a:pt x="215397" y="387"/>
                </a:moveTo>
                <a:cubicBezTo>
                  <a:pt x="238051" y="-1560"/>
                  <a:pt x="255320" y="4094"/>
                  <a:pt x="267668" y="11417"/>
                </a:cubicBezTo>
                <a:cubicBezTo>
                  <a:pt x="285959" y="21520"/>
                  <a:pt x="293015" y="35053"/>
                  <a:pt x="293015" y="35053"/>
                </a:cubicBezTo>
                <a:cubicBezTo>
                  <a:pt x="293015" y="35053"/>
                  <a:pt x="335259" y="38020"/>
                  <a:pt x="321054" y="123667"/>
                </a:cubicBezTo>
                <a:cubicBezTo>
                  <a:pt x="320497" y="126263"/>
                  <a:pt x="319939" y="128951"/>
                  <a:pt x="319197" y="131546"/>
                </a:cubicBezTo>
                <a:cubicBezTo>
                  <a:pt x="327181" y="131546"/>
                  <a:pt x="335351" y="137756"/>
                  <a:pt x="326624" y="168716"/>
                </a:cubicBezTo>
                <a:cubicBezTo>
                  <a:pt x="319661" y="192816"/>
                  <a:pt x="313348" y="199675"/>
                  <a:pt x="308520" y="200046"/>
                </a:cubicBezTo>
                <a:cubicBezTo>
                  <a:pt x="306756" y="210891"/>
                  <a:pt x="302578" y="223033"/>
                  <a:pt x="295893" y="234527"/>
                </a:cubicBezTo>
                <a:lnTo>
                  <a:pt x="295893" y="277536"/>
                </a:lnTo>
                <a:cubicBezTo>
                  <a:pt x="295893" y="279019"/>
                  <a:pt x="296729" y="280317"/>
                  <a:pt x="298121" y="281059"/>
                </a:cubicBezTo>
                <a:cubicBezTo>
                  <a:pt x="310469" y="287176"/>
                  <a:pt x="371653" y="318043"/>
                  <a:pt x="428381" y="364482"/>
                </a:cubicBezTo>
                <a:cubicBezTo>
                  <a:pt x="438501" y="372824"/>
                  <a:pt x="444350" y="385430"/>
                  <a:pt x="444350" y="398500"/>
                </a:cubicBezTo>
                <a:lnTo>
                  <a:pt x="444350" y="461067"/>
                </a:lnTo>
                <a:lnTo>
                  <a:pt x="388365" y="461067"/>
                </a:lnTo>
                <a:lnTo>
                  <a:pt x="388365" y="448554"/>
                </a:lnTo>
                <a:cubicBezTo>
                  <a:pt x="388365" y="436596"/>
                  <a:pt x="378709" y="426956"/>
                  <a:pt x="366733" y="426956"/>
                </a:cubicBezTo>
                <a:lnTo>
                  <a:pt x="356056" y="426956"/>
                </a:lnTo>
                <a:cubicBezTo>
                  <a:pt x="343522" y="378200"/>
                  <a:pt x="304899" y="339640"/>
                  <a:pt x="256156" y="327219"/>
                </a:cubicBezTo>
                <a:lnTo>
                  <a:pt x="256156" y="316560"/>
                </a:lnTo>
                <a:cubicBezTo>
                  <a:pt x="256156" y="304602"/>
                  <a:pt x="246500" y="294962"/>
                  <a:pt x="234523" y="294962"/>
                </a:cubicBezTo>
                <a:lnTo>
                  <a:pt x="209734" y="294962"/>
                </a:lnTo>
                <a:cubicBezTo>
                  <a:pt x="197757" y="294962"/>
                  <a:pt x="188101" y="304602"/>
                  <a:pt x="188101" y="316560"/>
                </a:cubicBezTo>
                <a:lnTo>
                  <a:pt x="188101" y="327219"/>
                </a:lnTo>
                <a:cubicBezTo>
                  <a:pt x="139266" y="339547"/>
                  <a:pt x="100643" y="378200"/>
                  <a:pt x="88202" y="426956"/>
                </a:cubicBezTo>
                <a:lnTo>
                  <a:pt x="77525" y="426956"/>
                </a:lnTo>
                <a:cubicBezTo>
                  <a:pt x="65548" y="426956"/>
                  <a:pt x="55892" y="436596"/>
                  <a:pt x="55892" y="448554"/>
                </a:cubicBezTo>
                <a:lnTo>
                  <a:pt x="55985" y="448554"/>
                </a:lnTo>
                <a:lnTo>
                  <a:pt x="55985" y="461067"/>
                </a:lnTo>
                <a:lnTo>
                  <a:pt x="0" y="461067"/>
                </a:lnTo>
                <a:lnTo>
                  <a:pt x="0" y="398500"/>
                </a:lnTo>
                <a:cubicBezTo>
                  <a:pt x="0" y="385430"/>
                  <a:pt x="5849" y="372824"/>
                  <a:pt x="15969" y="364482"/>
                </a:cubicBezTo>
                <a:cubicBezTo>
                  <a:pt x="72697" y="318043"/>
                  <a:pt x="133881" y="287176"/>
                  <a:pt x="146229" y="281059"/>
                </a:cubicBezTo>
                <a:cubicBezTo>
                  <a:pt x="147621" y="280502"/>
                  <a:pt x="148457" y="279112"/>
                  <a:pt x="148457" y="277536"/>
                </a:cubicBezTo>
                <a:lnTo>
                  <a:pt x="148457" y="234527"/>
                </a:lnTo>
                <a:cubicBezTo>
                  <a:pt x="141772" y="223033"/>
                  <a:pt x="137594" y="210983"/>
                  <a:pt x="135830" y="200046"/>
                </a:cubicBezTo>
                <a:cubicBezTo>
                  <a:pt x="131002" y="199675"/>
                  <a:pt x="124596" y="192816"/>
                  <a:pt x="117726" y="168716"/>
                </a:cubicBezTo>
                <a:cubicBezTo>
                  <a:pt x="109091" y="138220"/>
                  <a:pt x="116890" y="131824"/>
                  <a:pt x="124782" y="131546"/>
                </a:cubicBezTo>
                <a:cubicBezTo>
                  <a:pt x="124039" y="128951"/>
                  <a:pt x="123482" y="126263"/>
                  <a:pt x="122925" y="123667"/>
                </a:cubicBezTo>
                <a:cubicBezTo>
                  <a:pt x="119861" y="108188"/>
                  <a:pt x="119118" y="93820"/>
                  <a:pt x="122739" y="80102"/>
                </a:cubicBezTo>
                <a:cubicBezTo>
                  <a:pt x="127010" y="61749"/>
                  <a:pt x="137037" y="46918"/>
                  <a:pt x="148179" y="35517"/>
                </a:cubicBezTo>
                <a:cubicBezTo>
                  <a:pt x="155235" y="28102"/>
                  <a:pt x="163219" y="21428"/>
                  <a:pt x="171761" y="16144"/>
                </a:cubicBezTo>
                <a:cubicBezTo>
                  <a:pt x="178631" y="11324"/>
                  <a:pt x="186337" y="7246"/>
                  <a:pt x="194600" y="4372"/>
                </a:cubicBezTo>
                <a:cubicBezTo>
                  <a:pt x="201192" y="2148"/>
                  <a:pt x="208156" y="757"/>
                  <a:pt x="215397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CC93513-B704-41BC-AAB8-975B629AACE2}"/>
              </a:ext>
            </a:extLst>
          </p:cNvPr>
          <p:cNvSpPr/>
          <p:nvPr/>
        </p:nvSpPr>
        <p:spPr bwMode="auto">
          <a:xfrm>
            <a:off x="1421373" y="2332715"/>
            <a:ext cx="366346" cy="498926"/>
          </a:xfrm>
          <a:custGeom>
            <a:avLst/>
            <a:gdLst>
              <a:gd name="connsiteX0" fmla="*/ 219401 w 444350"/>
              <a:gd name="connsiteY0" fmla="*/ 389328 h 605161"/>
              <a:gd name="connsiteX1" fmla="*/ 216430 w 444350"/>
              <a:gd name="connsiteY1" fmla="*/ 392295 h 605161"/>
              <a:gd name="connsiteX2" fmla="*/ 216430 w 444350"/>
              <a:gd name="connsiteY2" fmla="*/ 405460 h 605161"/>
              <a:gd name="connsiteX3" fmla="*/ 196100 w 444350"/>
              <a:gd name="connsiteY3" fmla="*/ 414731 h 605161"/>
              <a:gd name="connsiteX4" fmla="*/ 187559 w 444350"/>
              <a:gd name="connsiteY4" fmla="*/ 435591 h 605161"/>
              <a:gd name="connsiteX5" fmla="*/ 195635 w 444350"/>
              <a:gd name="connsiteY5" fmla="*/ 456822 h 605161"/>
              <a:gd name="connsiteX6" fmla="*/ 221536 w 444350"/>
              <a:gd name="connsiteY6" fmla="*/ 471192 h 605161"/>
              <a:gd name="connsiteX7" fmla="*/ 231655 w 444350"/>
              <a:gd name="connsiteY7" fmla="*/ 477589 h 605161"/>
              <a:gd name="connsiteX8" fmla="*/ 234533 w 444350"/>
              <a:gd name="connsiteY8" fmla="*/ 486768 h 605161"/>
              <a:gd name="connsiteX9" fmla="*/ 231748 w 444350"/>
              <a:gd name="connsiteY9" fmla="*/ 495019 h 605161"/>
              <a:gd name="connsiteX10" fmla="*/ 223578 w 444350"/>
              <a:gd name="connsiteY10" fmla="*/ 498264 h 605161"/>
              <a:gd name="connsiteX11" fmla="*/ 213088 w 444350"/>
              <a:gd name="connsiteY11" fmla="*/ 494185 h 605161"/>
              <a:gd name="connsiteX12" fmla="*/ 209096 w 444350"/>
              <a:gd name="connsiteY12" fmla="*/ 483894 h 605161"/>
              <a:gd name="connsiteX13" fmla="*/ 205569 w 444350"/>
              <a:gd name="connsiteY13" fmla="*/ 480834 h 605161"/>
              <a:gd name="connsiteX14" fmla="*/ 187559 w 444350"/>
              <a:gd name="connsiteY14" fmla="*/ 481205 h 605161"/>
              <a:gd name="connsiteX15" fmla="*/ 184124 w 444350"/>
              <a:gd name="connsiteY15" fmla="*/ 484821 h 605161"/>
              <a:gd name="connsiteX16" fmla="*/ 193407 w 444350"/>
              <a:gd name="connsiteY16" fmla="*/ 506886 h 605161"/>
              <a:gd name="connsiteX17" fmla="*/ 216709 w 444350"/>
              <a:gd name="connsiteY17" fmla="*/ 516714 h 605161"/>
              <a:gd name="connsiteX18" fmla="*/ 216709 w 444350"/>
              <a:gd name="connsiteY18" fmla="*/ 528952 h 605161"/>
              <a:gd name="connsiteX19" fmla="*/ 219679 w 444350"/>
              <a:gd name="connsiteY19" fmla="*/ 531919 h 605161"/>
              <a:gd name="connsiteX20" fmla="*/ 230262 w 444350"/>
              <a:gd name="connsiteY20" fmla="*/ 531919 h 605161"/>
              <a:gd name="connsiteX21" fmla="*/ 233233 w 444350"/>
              <a:gd name="connsiteY21" fmla="*/ 528952 h 605161"/>
              <a:gd name="connsiteX22" fmla="*/ 233233 w 444350"/>
              <a:gd name="connsiteY22" fmla="*/ 516343 h 605161"/>
              <a:gd name="connsiteX23" fmla="*/ 251336 w 444350"/>
              <a:gd name="connsiteY23" fmla="*/ 507535 h 605161"/>
              <a:gd name="connsiteX24" fmla="*/ 259598 w 444350"/>
              <a:gd name="connsiteY24" fmla="*/ 486490 h 605161"/>
              <a:gd name="connsiteX25" fmla="*/ 251429 w 444350"/>
              <a:gd name="connsiteY25" fmla="*/ 465352 h 605161"/>
              <a:gd name="connsiteX26" fmla="*/ 225806 w 444350"/>
              <a:gd name="connsiteY26" fmla="*/ 450518 h 605161"/>
              <a:gd name="connsiteX27" fmla="*/ 215595 w 444350"/>
              <a:gd name="connsiteY27" fmla="*/ 444028 h 605161"/>
              <a:gd name="connsiteX28" fmla="*/ 212810 w 444350"/>
              <a:gd name="connsiteY28" fmla="*/ 435591 h 605161"/>
              <a:gd name="connsiteX29" fmla="*/ 215409 w 444350"/>
              <a:gd name="connsiteY29" fmla="*/ 427154 h 605161"/>
              <a:gd name="connsiteX30" fmla="*/ 223393 w 444350"/>
              <a:gd name="connsiteY30" fmla="*/ 423817 h 605161"/>
              <a:gd name="connsiteX31" fmla="*/ 231748 w 444350"/>
              <a:gd name="connsiteY31" fmla="*/ 427896 h 605161"/>
              <a:gd name="connsiteX32" fmla="*/ 234718 w 444350"/>
              <a:gd name="connsiteY32" fmla="*/ 437074 h 605161"/>
              <a:gd name="connsiteX33" fmla="*/ 238339 w 444350"/>
              <a:gd name="connsiteY33" fmla="*/ 440134 h 605161"/>
              <a:gd name="connsiteX34" fmla="*/ 256442 w 444350"/>
              <a:gd name="connsiteY34" fmla="*/ 439948 h 605161"/>
              <a:gd name="connsiteX35" fmla="*/ 259876 w 444350"/>
              <a:gd name="connsiteY35" fmla="*/ 436333 h 605161"/>
              <a:gd name="connsiteX36" fmla="*/ 252357 w 444350"/>
              <a:gd name="connsiteY36" fmla="*/ 416585 h 605161"/>
              <a:gd name="connsiteX37" fmla="*/ 233419 w 444350"/>
              <a:gd name="connsiteY37" fmla="*/ 405923 h 605161"/>
              <a:gd name="connsiteX38" fmla="*/ 233419 w 444350"/>
              <a:gd name="connsiteY38" fmla="*/ 392295 h 605161"/>
              <a:gd name="connsiteX39" fmla="*/ 230448 w 444350"/>
              <a:gd name="connsiteY39" fmla="*/ 389328 h 605161"/>
              <a:gd name="connsiteX40" fmla="*/ 209746 w 444350"/>
              <a:gd name="connsiteY40" fmla="*/ 316549 h 605161"/>
              <a:gd name="connsiteX41" fmla="*/ 234533 w 444350"/>
              <a:gd name="connsiteY41" fmla="*/ 316549 h 605161"/>
              <a:gd name="connsiteX42" fmla="*/ 234533 w 444350"/>
              <a:gd name="connsiteY42" fmla="*/ 345197 h 605161"/>
              <a:gd name="connsiteX43" fmla="*/ 337950 w 444350"/>
              <a:gd name="connsiteY43" fmla="*/ 448571 h 605161"/>
              <a:gd name="connsiteX44" fmla="*/ 366728 w 444350"/>
              <a:gd name="connsiteY44" fmla="*/ 448571 h 605161"/>
              <a:gd name="connsiteX45" fmla="*/ 366728 w 444350"/>
              <a:gd name="connsiteY45" fmla="*/ 473139 h 605161"/>
              <a:gd name="connsiteX46" fmla="*/ 337950 w 444350"/>
              <a:gd name="connsiteY46" fmla="*/ 473139 h 605161"/>
              <a:gd name="connsiteX47" fmla="*/ 234533 w 444350"/>
              <a:gd name="connsiteY47" fmla="*/ 576513 h 605161"/>
              <a:gd name="connsiteX48" fmla="*/ 234533 w 444350"/>
              <a:gd name="connsiteY48" fmla="*/ 605161 h 605161"/>
              <a:gd name="connsiteX49" fmla="*/ 209746 w 444350"/>
              <a:gd name="connsiteY49" fmla="*/ 605161 h 605161"/>
              <a:gd name="connsiteX50" fmla="*/ 209746 w 444350"/>
              <a:gd name="connsiteY50" fmla="*/ 576513 h 605161"/>
              <a:gd name="connsiteX51" fmla="*/ 106237 w 444350"/>
              <a:gd name="connsiteY51" fmla="*/ 473139 h 605161"/>
              <a:gd name="connsiteX52" fmla="*/ 77551 w 444350"/>
              <a:gd name="connsiteY52" fmla="*/ 473139 h 605161"/>
              <a:gd name="connsiteX53" fmla="*/ 77551 w 444350"/>
              <a:gd name="connsiteY53" fmla="*/ 448571 h 605161"/>
              <a:gd name="connsiteX54" fmla="*/ 106237 w 444350"/>
              <a:gd name="connsiteY54" fmla="*/ 448571 h 605161"/>
              <a:gd name="connsiteX55" fmla="*/ 209746 w 444350"/>
              <a:gd name="connsiteY55" fmla="*/ 345197 h 605161"/>
              <a:gd name="connsiteX56" fmla="*/ 215397 w 444350"/>
              <a:gd name="connsiteY56" fmla="*/ 387 h 605161"/>
              <a:gd name="connsiteX57" fmla="*/ 267668 w 444350"/>
              <a:gd name="connsiteY57" fmla="*/ 11417 h 605161"/>
              <a:gd name="connsiteX58" fmla="*/ 293015 w 444350"/>
              <a:gd name="connsiteY58" fmla="*/ 35053 h 605161"/>
              <a:gd name="connsiteX59" fmla="*/ 321054 w 444350"/>
              <a:gd name="connsiteY59" fmla="*/ 123667 h 605161"/>
              <a:gd name="connsiteX60" fmla="*/ 319197 w 444350"/>
              <a:gd name="connsiteY60" fmla="*/ 131546 h 605161"/>
              <a:gd name="connsiteX61" fmla="*/ 326624 w 444350"/>
              <a:gd name="connsiteY61" fmla="*/ 168716 h 605161"/>
              <a:gd name="connsiteX62" fmla="*/ 308520 w 444350"/>
              <a:gd name="connsiteY62" fmla="*/ 200046 h 605161"/>
              <a:gd name="connsiteX63" fmla="*/ 295893 w 444350"/>
              <a:gd name="connsiteY63" fmla="*/ 234527 h 605161"/>
              <a:gd name="connsiteX64" fmla="*/ 295893 w 444350"/>
              <a:gd name="connsiteY64" fmla="*/ 277536 h 605161"/>
              <a:gd name="connsiteX65" fmla="*/ 298121 w 444350"/>
              <a:gd name="connsiteY65" fmla="*/ 281059 h 605161"/>
              <a:gd name="connsiteX66" fmla="*/ 428381 w 444350"/>
              <a:gd name="connsiteY66" fmla="*/ 364482 h 605161"/>
              <a:gd name="connsiteX67" fmla="*/ 444350 w 444350"/>
              <a:gd name="connsiteY67" fmla="*/ 398500 h 605161"/>
              <a:gd name="connsiteX68" fmla="*/ 444350 w 444350"/>
              <a:gd name="connsiteY68" fmla="*/ 461067 h 605161"/>
              <a:gd name="connsiteX69" fmla="*/ 388365 w 444350"/>
              <a:gd name="connsiteY69" fmla="*/ 461067 h 605161"/>
              <a:gd name="connsiteX70" fmla="*/ 388365 w 444350"/>
              <a:gd name="connsiteY70" fmla="*/ 448554 h 605161"/>
              <a:gd name="connsiteX71" fmla="*/ 366733 w 444350"/>
              <a:gd name="connsiteY71" fmla="*/ 426956 h 605161"/>
              <a:gd name="connsiteX72" fmla="*/ 356056 w 444350"/>
              <a:gd name="connsiteY72" fmla="*/ 426956 h 605161"/>
              <a:gd name="connsiteX73" fmla="*/ 256156 w 444350"/>
              <a:gd name="connsiteY73" fmla="*/ 327219 h 605161"/>
              <a:gd name="connsiteX74" fmla="*/ 256156 w 444350"/>
              <a:gd name="connsiteY74" fmla="*/ 316560 h 605161"/>
              <a:gd name="connsiteX75" fmla="*/ 234523 w 444350"/>
              <a:gd name="connsiteY75" fmla="*/ 294962 h 605161"/>
              <a:gd name="connsiteX76" fmla="*/ 209734 w 444350"/>
              <a:gd name="connsiteY76" fmla="*/ 294962 h 605161"/>
              <a:gd name="connsiteX77" fmla="*/ 188101 w 444350"/>
              <a:gd name="connsiteY77" fmla="*/ 316560 h 605161"/>
              <a:gd name="connsiteX78" fmla="*/ 188101 w 444350"/>
              <a:gd name="connsiteY78" fmla="*/ 327219 h 605161"/>
              <a:gd name="connsiteX79" fmla="*/ 88202 w 444350"/>
              <a:gd name="connsiteY79" fmla="*/ 426956 h 605161"/>
              <a:gd name="connsiteX80" fmla="*/ 77525 w 444350"/>
              <a:gd name="connsiteY80" fmla="*/ 426956 h 605161"/>
              <a:gd name="connsiteX81" fmla="*/ 55892 w 444350"/>
              <a:gd name="connsiteY81" fmla="*/ 448554 h 605161"/>
              <a:gd name="connsiteX82" fmla="*/ 55985 w 444350"/>
              <a:gd name="connsiteY82" fmla="*/ 448554 h 605161"/>
              <a:gd name="connsiteX83" fmla="*/ 55985 w 444350"/>
              <a:gd name="connsiteY83" fmla="*/ 461067 h 605161"/>
              <a:gd name="connsiteX84" fmla="*/ 0 w 444350"/>
              <a:gd name="connsiteY84" fmla="*/ 461067 h 605161"/>
              <a:gd name="connsiteX85" fmla="*/ 0 w 444350"/>
              <a:gd name="connsiteY85" fmla="*/ 398500 h 605161"/>
              <a:gd name="connsiteX86" fmla="*/ 15969 w 444350"/>
              <a:gd name="connsiteY86" fmla="*/ 364482 h 605161"/>
              <a:gd name="connsiteX87" fmla="*/ 146229 w 444350"/>
              <a:gd name="connsiteY87" fmla="*/ 281059 h 605161"/>
              <a:gd name="connsiteX88" fmla="*/ 148457 w 444350"/>
              <a:gd name="connsiteY88" fmla="*/ 277536 h 605161"/>
              <a:gd name="connsiteX89" fmla="*/ 148457 w 444350"/>
              <a:gd name="connsiteY89" fmla="*/ 234527 h 605161"/>
              <a:gd name="connsiteX90" fmla="*/ 135830 w 444350"/>
              <a:gd name="connsiteY90" fmla="*/ 200046 h 605161"/>
              <a:gd name="connsiteX91" fmla="*/ 117726 w 444350"/>
              <a:gd name="connsiteY91" fmla="*/ 168716 h 605161"/>
              <a:gd name="connsiteX92" fmla="*/ 124782 w 444350"/>
              <a:gd name="connsiteY92" fmla="*/ 131546 h 605161"/>
              <a:gd name="connsiteX93" fmla="*/ 122925 w 444350"/>
              <a:gd name="connsiteY93" fmla="*/ 123667 h 605161"/>
              <a:gd name="connsiteX94" fmla="*/ 122739 w 444350"/>
              <a:gd name="connsiteY94" fmla="*/ 80102 h 605161"/>
              <a:gd name="connsiteX95" fmla="*/ 148179 w 444350"/>
              <a:gd name="connsiteY95" fmla="*/ 35517 h 605161"/>
              <a:gd name="connsiteX96" fmla="*/ 171761 w 444350"/>
              <a:gd name="connsiteY96" fmla="*/ 16144 h 605161"/>
              <a:gd name="connsiteX97" fmla="*/ 194600 w 444350"/>
              <a:gd name="connsiteY97" fmla="*/ 4372 h 605161"/>
              <a:gd name="connsiteX98" fmla="*/ 215397 w 444350"/>
              <a:gd name="connsiteY98" fmla="*/ 387 h 60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44350" h="605161">
                <a:moveTo>
                  <a:pt x="219401" y="389328"/>
                </a:moveTo>
                <a:cubicBezTo>
                  <a:pt x="217823" y="389328"/>
                  <a:pt x="216430" y="390718"/>
                  <a:pt x="216430" y="392295"/>
                </a:cubicBezTo>
                <a:lnTo>
                  <a:pt x="216430" y="405460"/>
                </a:lnTo>
                <a:cubicBezTo>
                  <a:pt x="208168" y="406665"/>
                  <a:pt x="201298" y="409724"/>
                  <a:pt x="196100" y="414731"/>
                </a:cubicBezTo>
                <a:cubicBezTo>
                  <a:pt x="190437" y="420108"/>
                  <a:pt x="187559" y="427154"/>
                  <a:pt x="187559" y="435591"/>
                </a:cubicBezTo>
                <a:cubicBezTo>
                  <a:pt x="187559" y="444955"/>
                  <a:pt x="190158" y="452001"/>
                  <a:pt x="195635" y="456822"/>
                </a:cubicBezTo>
                <a:cubicBezTo>
                  <a:pt x="201113" y="461643"/>
                  <a:pt x="209653" y="466464"/>
                  <a:pt x="221536" y="471192"/>
                </a:cubicBezTo>
                <a:cubicBezTo>
                  <a:pt x="226363" y="473325"/>
                  <a:pt x="229798" y="475364"/>
                  <a:pt x="231655" y="477589"/>
                </a:cubicBezTo>
                <a:cubicBezTo>
                  <a:pt x="233512" y="479722"/>
                  <a:pt x="234533" y="482781"/>
                  <a:pt x="234533" y="486768"/>
                </a:cubicBezTo>
                <a:cubicBezTo>
                  <a:pt x="234533" y="490198"/>
                  <a:pt x="233604" y="492980"/>
                  <a:pt x="231748" y="495019"/>
                </a:cubicBezTo>
                <a:cubicBezTo>
                  <a:pt x="229891" y="497152"/>
                  <a:pt x="227199" y="498264"/>
                  <a:pt x="223578" y="498264"/>
                </a:cubicBezTo>
                <a:cubicBezTo>
                  <a:pt x="219308" y="498264"/>
                  <a:pt x="215780" y="496874"/>
                  <a:pt x="213088" y="494185"/>
                </a:cubicBezTo>
                <a:cubicBezTo>
                  <a:pt x="210860" y="491960"/>
                  <a:pt x="209468" y="488529"/>
                  <a:pt x="209096" y="483894"/>
                </a:cubicBezTo>
                <a:cubicBezTo>
                  <a:pt x="209004" y="482225"/>
                  <a:pt x="207425" y="480834"/>
                  <a:pt x="205569" y="480834"/>
                </a:cubicBezTo>
                <a:lnTo>
                  <a:pt x="187559" y="481205"/>
                </a:lnTo>
                <a:cubicBezTo>
                  <a:pt x="185609" y="481205"/>
                  <a:pt x="184031" y="482781"/>
                  <a:pt x="184124" y="484821"/>
                </a:cubicBezTo>
                <a:cubicBezTo>
                  <a:pt x="184588" y="494278"/>
                  <a:pt x="187745" y="501695"/>
                  <a:pt x="193407" y="506886"/>
                </a:cubicBezTo>
                <a:cubicBezTo>
                  <a:pt x="199627" y="512635"/>
                  <a:pt x="207240" y="515972"/>
                  <a:pt x="216709" y="516714"/>
                </a:cubicBezTo>
                <a:lnTo>
                  <a:pt x="216709" y="528952"/>
                </a:lnTo>
                <a:cubicBezTo>
                  <a:pt x="216709" y="530528"/>
                  <a:pt x="218008" y="531919"/>
                  <a:pt x="219679" y="531919"/>
                </a:cubicBezTo>
                <a:lnTo>
                  <a:pt x="230262" y="531919"/>
                </a:lnTo>
                <a:cubicBezTo>
                  <a:pt x="231933" y="531919"/>
                  <a:pt x="233233" y="530528"/>
                  <a:pt x="233233" y="528952"/>
                </a:cubicBezTo>
                <a:lnTo>
                  <a:pt x="233233" y="516343"/>
                </a:lnTo>
                <a:cubicBezTo>
                  <a:pt x="240567" y="514952"/>
                  <a:pt x="246601" y="512078"/>
                  <a:pt x="251336" y="507535"/>
                </a:cubicBezTo>
                <a:cubicBezTo>
                  <a:pt x="256906" y="502251"/>
                  <a:pt x="259598" y="495205"/>
                  <a:pt x="259598" y="486490"/>
                </a:cubicBezTo>
                <a:cubicBezTo>
                  <a:pt x="259598" y="477404"/>
                  <a:pt x="256906" y="470358"/>
                  <a:pt x="251429" y="465352"/>
                </a:cubicBezTo>
                <a:cubicBezTo>
                  <a:pt x="246044" y="460438"/>
                  <a:pt x="237503" y="455524"/>
                  <a:pt x="225806" y="450518"/>
                </a:cubicBezTo>
                <a:cubicBezTo>
                  <a:pt x="220793" y="448293"/>
                  <a:pt x="217451" y="446067"/>
                  <a:pt x="215595" y="444028"/>
                </a:cubicBezTo>
                <a:cubicBezTo>
                  <a:pt x="213738" y="441895"/>
                  <a:pt x="212810" y="439021"/>
                  <a:pt x="212810" y="435591"/>
                </a:cubicBezTo>
                <a:cubicBezTo>
                  <a:pt x="212810" y="432161"/>
                  <a:pt x="213738" y="429379"/>
                  <a:pt x="215409" y="427154"/>
                </a:cubicBezTo>
                <a:cubicBezTo>
                  <a:pt x="217173" y="424929"/>
                  <a:pt x="219772" y="423817"/>
                  <a:pt x="223393" y="423817"/>
                </a:cubicBezTo>
                <a:cubicBezTo>
                  <a:pt x="226828" y="423817"/>
                  <a:pt x="229705" y="425207"/>
                  <a:pt x="231748" y="427896"/>
                </a:cubicBezTo>
                <a:cubicBezTo>
                  <a:pt x="233419" y="430121"/>
                  <a:pt x="234347" y="433088"/>
                  <a:pt x="234718" y="437074"/>
                </a:cubicBezTo>
                <a:cubicBezTo>
                  <a:pt x="234904" y="438929"/>
                  <a:pt x="236575" y="440134"/>
                  <a:pt x="238339" y="440134"/>
                </a:cubicBezTo>
                <a:lnTo>
                  <a:pt x="256442" y="439948"/>
                </a:lnTo>
                <a:cubicBezTo>
                  <a:pt x="258391" y="439948"/>
                  <a:pt x="259969" y="438280"/>
                  <a:pt x="259876" y="436333"/>
                </a:cubicBezTo>
                <a:cubicBezTo>
                  <a:pt x="259412" y="428452"/>
                  <a:pt x="256906" y="421870"/>
                  <a:pt x="252357" y="416585"/>
                </a:cubicBezTo>
                <a:cubicBezTo>
                  <a:pt x="247530" y="411022"/>
                  <a:pt x="241217" y="407499"/>
                  <a:pt x="233419" y="405923"/>
                </a:cubicBezTo>
                <a:lnTo>
                  <a:pt x="233419" y="392295"/>
                </a:lnTo>
                <a:cubicBezTo>
                  <a:pt x="233419" y="390718"/>
                  <a:pt x="232119" y="389328"/>
                  <a:pt x="230448" y="389328"/>
                </a:cubicBezTo>
                <a:close/>
                <a:moveTo>
                  <a:pt x="209746" y="316549"/>
                </a:moveTo>
                <a:lnTo>
                  <a:pt x="234533" y="316549"/>
                </a:lnTo>
                <a:lnTo>
                  <a:pt x="234533" y="345197"/>
                </a:lnTo>
                <a:cubicBezTo>
                  <a:pt x="288841" y="350945"/>
                  <a:pt x="332287" y="394149"/>
                  <a:pt x="337950" y="448571"/>
                </a:cubicBezTo>
                <a:lnTo>
                  <a:pt x="366728" y="448571"/>
                </a:lnTo>
                <a:lnTo>
                  <a:pt x="366728" y="473139"/>
                </a:lnTo>
                <a:lnTo>
                  <a:pt x="337950" y="473139"/>
                </a:lnTo>
                <a:cubicBezTo>
                  <a:pt x="332287" y="527468"/>
                  <a:pt x="288933" y="570858"/>
                  <a:pt x="234533" y="576513"/>
                </a:cubicBezTo>
                <a:lnTo>
                  <a:pt x="234533" y="605161"/>
                </a:lnTo>
                <a:lnTo>
                  <a:pt x="209746" y="605161"/>
                </a:lnTo>
                <a:lnTo>
                  <a:pt x="209746" y="576513"/>
                </a:lnTo>
                <a:cubicBezTo>
                  <a:pt x="155438" y="570858"/>
                  <a:pt x="111992" y="527561"/>
                  <a:pt x="106237" y="473139"/>
                </a:cubicBezTo>
                <a:lnTo>
                  <a:pt x="77551" y="473139"/>
                </a:lnTo>
                <a:lnTo>
                  <a:pt x="77551" y="448571"/>
                </a:lnTo>
                <a:lnTo>
                  <a:pt x="106237" y="448571"/>
                </a:lnTo>
                <a:cubicBezTo>
                  <a:pt x="111992" y="394334"/>
                  <a:pt x="155253" y="350945"/>
                  <a:pt x="209746" y="345197"/>
                </a:cubicBezTo>
                <a:close/>
                <a:moveTo>
                  <a:pt x="215397" y="387"/>
                </a:moveTo>
                <a:cubicBezTo>
                  <a:pt x="238051" y="-1560"/>
                  <a:pt x="255320" y="4094"/>
                  <a:pt x="267668" y="11417"/>
                </a:cubicBezTo>
                <a:cubicBezTo>
                  <a:pt x="285959" y="21520"/>
                  <a:pt x="293015" y="35053"/>
                  <a:pt x="293015" y="35053"/>
                </a:cubicBezTo>
                <a:cubicBezTo>
                  <a:pt x="293015" y="35053"/>
                  <a:pt x="335259" y="38020"/>
                  <a:pt x="321054" y="123667"/>
                </a:cubicBezTo>
                <a:cubicBezTo>
                  <a:pt x="320497" y="126263"/>
                  <a:pt x="319939" y="128951"/>
                  <a:pt x="319197" y="131546"/>
                </a:cubicBezTo>
                <a:cubicBezTo>
                  <a:pt x="327181" y="131546"/>
                  <a:pt x="335351" y="137756"/>
                  <a:pt x="326624" y="168716"/>
                </a:cubicBezTo>
                <a:cubicBezTo>
                  <a:pt x="319661" y="192816"/>
                  <a:pt x="313348" y="199675"/>
                  <a:pt x="308520" y="200046"/>
                </a:cubicBezTo>
                <a:cubicBezTo>
                  <a:pt x="306756" y="210891"/>
                  <a:pt x="302578" y="223033"/>
                  <a:pt x="295893" y="234527"/>
                </a:cubicBezTo>
                <a:lnTo>
                  <a:pt x="295893" y="277536"/>
                </a:lnTo>
                <a:cubicBezTo>
                  <a:pt x="295893" y="279019"/>
                  <a:pt x="296729" y="280317"/>
                  <a:pt x="298121" y="281059"/>
                </a:cubicBezTo>
                <a:cubicBezTo>
                  <a:pt x="310469" y="287176"/>
                  <a:pt x="371653" y="318043"/>
                  <a:pt x="428381" y="364482"/>
                </a:cubicBezTo>
                <a:cubicBezTo>
                  <a:pt x="438501" y="372824"/>
                  <a:pt x="444350" y="385430"/>
                  <a:pt x="444350" y="398500"/>
                </a:cubicBezTo>
                <a:lnTo>
                  <a:pt x="444350" y="461067"/>
                </a:lnTo>
                <a:lnTo>
                  <a:pt x="388365" y="461067"/>
                </a:lnTo>
                <a:lnTo>
                  <a:pt x="388365" y="448554"/>
                </a:lnTo>
                <a:cubicBezTo>
                  <a:pt x="388365" y="436596"/>
                  <a:pt x="378709" y="426956"/>
                  <a:pt x="366733" y="426956"/>
                </a:cubicBezTo>
                <a:lnTo>
                  <a:pt x="356056" y="426956"/>
                </a:lnTo>
                <a:cubicBezTo>
                  <a:pt x="343522" y="378200"/>
                  <a:pt x="304899" y="339640"/>
                  <a:pt x="256156" y="327219"/>
                </a:cubicBezTo>
                <a:lnTo>
                  <a:pt x="256156" y="316560"/>
                </a:lnTo>
                <a:cubicBezTo>
                  <a:pt x="256156" y="304602"/>
                  <a:pt x="246500" y="294962"/>
                  <a:pt x="234523" y="294962"/>
                </a:cubicBezTo>
                <a:lnTo>
                  <a:pt x="209734" y="294962"/>
                </a:lnTo>
                <a:cubicBezTo>
                  <a:pt x="197757" y="294962"/>
                  <a:pt x="188101" y="304602"/>
                  <a:pt x="188101" y="316560"/>
                </a:cubicBezTo>
                <a:lnTo>
                  <a:pt x="188101" y="327219"/>
                </a:lnTo>
                <a:cubicBezTo>
                  <a:pt x="139266" y="339547"/>
                  <a:pt x="100643" y="378200"/>
                  <a:pt x="88202" y="426956"/>
                </a:cubicBezTo>
                <a:lnTo>
                  <a:pt x="77525" y="426956"/>
                </a:lnTo>
                <a:cubicBezTo>
                  <a:pt x="65548" y="426956"/>
                  <a:pt x="55892" y="436596"/>
                  <a:pt x="55892" y="448554"/>
                </a:cubicBezTo>
                <a:lnTo>
                  <a:pt x="55985" y="448554"/>
                </a:lnTo>
                <a:lnTo>
                  <a:pt x="55985" y="461067"/>
                </a:lnTo>
                <a:lnTo>
                  <a:pt x="0" y="461067"/>
                </a:lnTo>
                <a:lnTo>
                  <a:pt x="0" y="398500"/>
                </a:lnTo>
                <a:cubicBezTo>
                  <a:pt x="0" y="385430"/>
                  <a:pt x="5849" y="372824"/>
                  <a:pt x="15969" y="364482"/>
                </a:cubicBezTo>
                <a:cubicBezTo>
                  <a:pt x="72697" y="318043"/>
                  <a:pt x="133881" y="287176"/>
                  <a:pt x="146229" y="281059"/>
                </a:cubicBezTo>
                <a:cubicBezTo>
                  <a:pt x="147621" y="280502"/>
                  <a:pt x="148457" y="279112"/>
                  <a:pt x="148457" y="277536"/>
                </a:cubicBezTo>
                <a:lnTo>
                  <a:pt x="148457" y="234527"/>
                </a:lnTo>
                <a:cubicBezTo>
                  <a:pt x="141772" y="223033"/>
                  <a:pt x="137594" y="210983"/>
                  <a:pt x="135830" y="200046"/>
                </a:cubicBezTo>
                <a:cubicBezTo>
                  <a:pt x="131002" y="199675"/>
                  <a:pt x="124596" y="192816"/>
                  <a:pt x="117726" y="168716"/>
                </a:cubicBezTo>
                <a:cubicBezTo>
                  <a:pt x="109091" y="138220"/>
                  <a:pt x="116890" y="131824"/>
                  <a:pt x="124782" y="131546"/>
                </a:cubicBezTo>
                <a:cubicBezTo>
                  <a:pt x="124039" y="128951"/>
                  <a:pt x="123482" y="126263"/>
                  <a:pt x="122925" y="123667"/>
                </a:cubicBezTo>
                <a:cubicBezTo>
                  <a:pt x="119861" y="108188"/>
                  <a:pt x="119118" y="93820"/>
                  <a:pt x="122739" y="80102"/>
                </a:cubicBezTo>
                <a:cubicBezTo>
                  <a:pt x="127010" y="61749"/>
                  <a:pt x="137037" y="46918"/>
                  <a:pt x="148179" y="35517"/>
                </a:cubicBezTo>
                <a:cubicBezTo>
                  <a:pt x="155235" y="28102"/>
                  <a:pt x="163219" y="21428"/>
                  <a:pt x="171761" y="16144"/>
                </a:cubicBezTo>
                <a:cubicBezTo>
                  <a:pt x="178631" y="11324"/>
                  <a:pt x="186337" y="7246"/>
                  <a:pt x="194600" y="4372"/>
                </a:cubicBezTo>
                <a:cubicBezTo>
                  <a:pt x="201192" y="2148"/>
                  <a:pt x="208156" y="757"/>
                  <a:pt x="215397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8B4D72A5-BA07-4383-AB19-763C848944BF}"/>
              </a:ext>
            </a:extLst>
          </p:cNvPr>
          <p:cNvSpPr/>
          <p:nvPr/>
        </p:nvSpPr>
        <p:spPr bwMode="auto">
          <a:xfrm>
            <a:off x="3657172" y="2341336"/>
            <a:ext cx="366346" cy="498926"/>
          </a:xfrm>
          <a:custGeom>
            <a:avLst/>
            <a:gdLst>
              <a:gd name="connsiteX0" fmla="*/ 219401 w 444350"/>
              <a:gd name="connsiteY0" fmla="*/ 389328 h 605161"/>
              <a:gd name="connsiteX1" fmla="*/ 216430 w 444350"/>
              <a:gd name="connsiteY1" fmla="*/ 392295 h 605161"/>
              <a:gd name="connsiteX2" fmla="*/ 216430 w 444350"/>
              <a:gd name="connsiteY2" fmla="*/ 405460 h 605161"/>
              <a:gd name="connsiteX3" fmla="*/ 196100 w 444350"/>
              <a:gd name="connsiteY3" fmla="*/ 414731 h 605161"/>
              <a:gd name="connsiteX4" fmla="*/ 187559 w 444350"/>
              <a:gd name="connsiteY4" fmla="*/ 435591 h 605161"/>
              <a:gd name="connsiteX5" fmla="*/ 195635 w 444350"/>
              <a:gd name="connsiteY5" fmla="*/ 456822 h 605161"/>
              <a:gd name="connsiteX6" fmla="*/ 221536 w 444350"/>
              <a:gd name="connsiteY6" fmla="*/ 471192 h 605161"/>
              <a:gd name="connsiteX7" fmla="*/ 231655 w 444350"/>
              <a:gd name="connsiteY7" fmla="*/ 477589 h 605161"/>
              <a:gd name="connsiteX8" fmla="*/ 234533 w 444350"/>
              <a:gd name="connsiteY8" fmla="*/ 486768 h 605161"/>
              <a:gd name="connsiteX9" fmla="*/ 231748 w 444350"/>
              <a:gd name="connsiteY9" fmla="*/ 495019 h 605161"/>
              <a:gd name="connsiteX10" fmla="*/ 223578 w 444350"/>
              <a:gd name="connsiteY10" fmla="*/ 498264 h 605161"/>
              <a:gd name="connsiteX11" fmla="*/ 213088 w 444350"/>
              <a:gd name="connsiteY11" fmla="*/ 494185 h 605161"/>
              <a:gd name="connsiteX12" fmla="*/ 209096 w 444350"/>
              <a:gd name="connsiteY12" fmla="*/ 483894 h 605161"/>
              <a:gd name="connsiteX13" fmla="*/ 205569 w 444350"/>
              <a:gd name="connsiteY13" fmla="*/ 480834 h 605161"/>
              <a:gd name="connsiteX14" fmla="*/ 187559 w 444350"/>
              <a:gd name="connsiteY14" fmla="*/ 481205 h 605161"/>
              <a:gd name="connsiteX15" fmla="*/ 184124 w 444350"/>
              <a:gd name="connsiteY15" fmla="*/ 484821 h 605161"/>
              <a:gd name="connsiteX16" fmla="*/ 193407 w 444350"/>
              <a:gd name="connsiteY16" fmla="*/ 506886 h 605161"/>
              <a:gd name="connsiteX17" fmla="*/ 216709 w 444350"/>
              <a:gd name="connsiteY17" fmla="*/ 516714 h 605161"/>
              <a:gd name="connsiteX18" fmla="*/ 216709 w 444350"/>
              <a:gd name="connsiteY18" fmla="*/ 528952 h 605161"/>
              <a:gd name="connsiteX19" fmla="*/ 219679 w 444350"/>
              <a:gd name="connsiteY19" fmla="*/ 531919 h 605161"/>
              <a:gd name="connsiteX20" fmla="*/ 230262 w 444350"/>
              <a:gd name="connsiteY20" fmla="*/ 531919 h 605161"/>
              <a:gd name="connsiteX21" fmla="*/ 233233 w 444350"/>
              <a:gd name="connsiteY21" fmla="*/ 528952 h 605161"/>
              <a:gd name="connsiteX22" fmla="*/ 233233 w 444350"/>
              <a:gd name="connsiteY22" fmla="*/ 516343 h 605161"/>
              <a:gd name="connsiteX23" fmla="*/ 251336 w 444350"/>
              <a:gd name="connsiteY23" fmla="*/ 507535 h 605161"/>
              <a:gd name="connsiteX24" fmla="*/ 259598 w 444350"/>
              <a:gd name="connsiteY24" fmla="*/ 486490 h 605161"/>
              <a:gd name="connsiteX25" fmla="*/ 251429 w 444350"/>
              <a:gd name="connsiteY25" fmla="*/ 465352 h 605161"/>
              <a:gd name="connsiteX26" fmla="*/ 225806 w 444350"/>
              <a:gd name="connsiteY26" fmla="*/ 450518 h 605161"/>
              <a:gd name="connsiteX27" fmla="*/ 215595 w 444350"/>
              <a:gd name="connsiteY27" fmla="*/ 444028 h 605161"/>
              <a:gd name="connsiteX28" fmla="*/ 212810 w 444350"/>
              <a:gd name="connsiteY28" fmla="*/ 435591 h 605161"/>
              <a:gd name="connsiteX29" fmla="*/ 215409 w 444350"/>
              <a:gd name="connsiteY29" fmla="*/ 427154 h 605161"/>
              <a:gd name="connsiteX30" fmla="*/ 223393 w 444350"/>
              <a:gd name="connsiteY30" fmla="*/ 423817 h 605161"/>
              <a:gd name="connsiteX31" fmla="*/ 231748 w 444350"/>
              <a:gd name="connsiteY31" fmla="*/ 427896 h 605161"/>
              <a:gd name="connsiteX32" fmla="*/ 234718 w 444350"/>
              <a:gd name="connsiteY32" fmla="*/ 437074 h 605161"/>
              <a:gd name="connsiteX33" fmla="*/ 238339 w 444350"/>
              <a:gd name="connsiteY33" fmla="*/ 440134 h 605161"/>
              <a:gd name="connsiteX34" fmla="*/ 256442 w 444350"/>
              <a:gd name="connsiteY34" fmla="*/ 439948 h 605161"/>
              <a:gd name="connsiteX35" fmla="*/ 259876 w 444350"/>
              <a:gd name="connsiteY35" fmla="*/ 436333 h 605161"/>
              <a:gd name="connsiteX36" fmla="*/ 252357 w 444350"/>
              <a:gd name="connsiteY36" fmla="*/ 416585 h 605161"/>
              <a:gd name="connsiteX37" fmla="*/ 233419 w 444350"/>
              <a:gd name="connsiteY37" fmla="*/ 405923 h 605161"/>
              <a:gd name="connsiteX38" fmla="*/ 233419 w 444350"/>
              <a:gd name="connsiteY38" fmla="*/ 392295 h 605161"/>
              <a:gd name="connsiteX39" fmla="*/ 230448 w 444350"/>
              <a:gd name="connsiteY39" fmla="*/ 389328 h 605161"/>
              <a:gd name="connsiteX40" fmla="*/ 209746 w 444350"/>
              <a:gd name="connsiteY40" fmla="*/ 316549 h 605161"/>
              <a:gd name="connsiteX41" fmla="*/ 234533 w 444350"/>
              <a:gd name="connsiteY41" fmla="*/ 316549 h 605161"/>
              <a:gd name="connsiteX42" fmla="*/ 234533 w 444350"/>
              <a:gd name="connsiteY42" fmla="*/ 345197 h 605161"/>
              <a:gd name="connsiteX43" fmla="*/ 337950 w 444350"/>
              <a:gd name="connsiteY43" fmla="*/ 448571 h 605161"/>
              <a:gd name="connsiteX44" fmla="*/ 366728 w 444350"/>
              <a:gd name="connsiteY44" fmla="*/ 448571 h 605161"/>
              <a:gd name="connsiteX45" fmla="*/ 366728 w 444350"/>
              <a:gd name="connsiteY45" fmla="*/ 473139 h 605161"/>
              <a:gd name="connsiteX46" fmla="*/ 337950 w 444350"/>
              <a:gd name="connsiteY46" fmla="*/ 473139 h 605161"/>
              <a:gd name="connsiteX47" fmla="*/ 234533 w 444350"/>
              <a:gd name="connsiteY47" fmla="*/ 576513 h 605161"/>
              <a:gd name="connsiteX48" fmla="*/ 234533 w 444350"/>
              <a:gd name="connsiteY48" fmla="*/ 605161 h 605161"/>
              <a:gd name="connsiteX49" fmla="*/ 209746 w 444350"/>
              <a:gd name="connsiteY49" fmla="*/ 605161 h 605161"/>
              <a:gd name="connsiteX50" fmla="*/ 209746 w 444350"/>
              <a:gd name="connsiteY50" fmla="*/ 576513 h 605161"/>
              <a:gd name="connsiteX51" fmla="*/ 106237 w 444350"/>
              <a:gd name="connsiteY51" fmla="*/ 473139 h 605161"/>
              <a:gd name="connsiteX52" fmla="*/ 77551 w 444350"/>
              <a:gd name="connsiteY52" fmla="*/ 473139 h 605161"/>
              <a:gd name="connsiteX53" fmla="*/ 77551 w 444350"/>
              <a:gd name="connsiteY53" fmla="*/ 448571 h 605161"/>
              <a:gd name="connsiteX54" fmla="*/ 106237 w 444350"/>
              <a:gd name="connsiteY54" fmla="*/ 448571 h 605161"/>
              <a:gd name="connsiteX55" fmla="*/ 209746 w 444350"/>
              <a:gd name="connsiteY55" fmla="*/ 345197 h 605161"/>
              <a:gd name="connsiteX56" fmla="*/ 215397 w 444350"/>
              <a:gd name="connsiteY56" fmla="*/ 387 h 605161"/>
              <a:gd name="connsiteX57" fmla="*/ 267668 w 444350"/>
              <a:gd name="connsiteY57" fmla="*/ 11417 h 605161"/>
              <a:gd name="connsiteX58" fmla="*/ 293015 w 444350"/>
              <a:gd name="connsiteY58" fmla="*/ 35053 h 605161"/>
              <a:gd name="connsiteX59" fmla="*/ 321054 w 444350"/>
              <a:gd name="connsiteY59" fmla="*/ 123667 h 605161"/>
              <a:gd name="connsiteX60" fmla="*/ 319197 w 444350"/>
              <a:gd name="connsiteY60" fmla="*/ 131546 h 605161"/>
              <a:gd name="connsiteX61" fmla="*/ 326624 w 444350"/>
              <a:gd name="connsiteY61" fmla="*/ 168716 h 605161"/>
              <a:gd name="connsiteX62" fmla="*/ 308520 w 444350"/>
              <a:gd name="connsiteY62" fmla="*/ 200046 h 605161"/>
              <a:gd name="connsiteX63" fmla="*/ 295893 w 444350"/>
              <a:gd name="connsiteY63" fmla="*/ 234527 h 605161"/>
              <a:gd name="connsiteX64" fmla="*/ 295893 w 444350"/>
              <a:gd name="connsiteY64" fmla="*/ 277536 h 605161"/>
              <a:gd name="connsiteX65" fmla="*/ 298121 w 444350"/>
              <a:gd name="connsiteY65" fmla="*/ 281059 h 605161"/>
              <a:gd name="connsiteX66" fmla="*/ 428381 w 444350"/>
              <a:gd name="connsiteY66" fmla="*/ 364482 h 605161"/>
              <a:gd name="connsiteX67" fmla="*/ 444350 w 444350"/>
              <a:gd name="connsiteY67" fmla="*/ 398500 h 605161"/>
              <a:gd name="connsiteX68" fmla="*/ 444350 w 444350"/>
              <a:gd name="connsiteY68" fmla="*/ 461067 h 605161"/>
              <a:gd name="connsiteX69" fmla="*/ 388365 w 444350"/>
              <a:gd name="connsiteY69" fmla="*/ 461067 h 605161"/>
              <a:gd name="connsiteX70" fmla="*/ 388365 w 444350"/>
              <a:gd name="connsiteY70" fmla="*/ 448554 h 605161"/>
              <a:gd name="connsiteX71" fmla="*/ 366733 w 444350"/>
              <a:gd name="connsiteY71" fmla="*/ 426956 h 605161"/>
              <a:gd name="connsiteX72" fmla="*/ 356056 w 444350"/>
              <a:gd name="connsiteY72" fmla="*/ 426956 h 605161"/>
              <a:gd name="connsiteX73" fmla="*/ 256156 w 444350"/>
              <a:gd name="connsiteY73" fmla="*/ 327219 h 605161"/>
              <a:gd name="connsiteX74" fmla="*/ 256156 w 444350"/>
              <a:gd name="connsiteY74" fmla="*/ 316560 h 605161"/>
              <a:gd name="connsiteX75" fmla="*/ 234523 w 444350"/>
              <a:gd name="connsiteY75" fmla="*/ 294962 h 605161"/>
              <a:gd name="connsiteX76" fmla="*/ 209734 w 444350"/>
              <a:gd name="connsiteY76" fmla="*/ 294962 h 605161"/>
              <a:gd name="connsiteX77" fmla="*/ 188101 w 444350"/>
              <a:gd name="connsiteY77" fmla="*/ 316560 h 605161"/>
              <a:gd name="connsiteX78" fmla="*/ 188101 w 444350"/>
              <a:gd name="connsiteY78" fmla="*/ 327219 h 605161"/>
              <a:gd name="connsiteX79" fmla="*/ 88202 w 444350"/>
              <a:gd name="connsiteY79" fmla="*/ 426956 h 605161"/>
              <a:gd name="connsiteX80" fmla="*/ 77525 w 444350"/>
              <a:gd name="connsiteY80" fmla="*/ 426956 h 605161"/>
              <a:gd name="connsiteX81" fmla="*/ 55892 w 444350"/>
              <a:gd name="connsiteY81" fmla="*/ 448554 h 605161"/>
              <a:gd name="connsiteX82" fmla="*/ 55985 w 444350"/>
              <a:gd name="connsiteY82" fmla="*/ 448554 h 605161"/>
              <a:gd name="connsiteX83" fmla="*/ 55985 w 444350"/>
              <a:gd name="connsiteY83" fmla="*/ 461067 h 605161"/>
              <a:gd name="connsiteX84" fmla="*/ 0 w 444350"/>
              <a:gd name="connsiteY84" fmla="*/ 461067 h 605161"/>
              <a:gd name="connsiteX85" fmla="*/ 0 w 444350"/>
              <a:gd name="connsiteY85" fmla="*/ 398500 h 605161"/>
              <a:gd name="connsiteX86" fmla="*/ 15969 w 444350"/>
              <a:gd name="connsiteY86" fmla="*/ 364482 h 605161"/>
              <a:gd name="connsiteX87" fmla="*/ 146229 w 444350"/>
              <a:gd name="connsiteY87" fmla="*/ 281059 h 605161"/>
              <a:gd name="connsiteX88" fmla="*/ 148457 w 444350"/>
              <a:gd name="connsiteY88" fmla="*/ 277536 h 605161"/>
              <a:gd name="connsiteX89" fmla="*/ 148457 w 444350"/>
              <a:gd name="connsiteY89" fmla="*/ 234527 h 605161"/>
              <a:gd name="connsiteX90" fmla="*/ 135830 w 444350"/>
              <a:gd name="connsiteY90" fmla="*/ 200046 h 605161"/>
              <a:gd name="connsiteX91" fmla="*/ 117726 w 444350"/>
              <a:gd name="connsiteY91" fmla="*/ 168716 h 605161"/>
              <a:gd name="connsiteX92" fmla="*/ 124782 w 444350"/>
              <a:gd name="connsiteY92" fmla="*/ 131546 h 605161"/>
              <a:gd name="connsiteX93" fmla="*/ 122925 w 444350"/>
              <a:gd name="connsiteY93" fmla="*/ 123667 h 605161"/>
              <a:gd name="connsiteX94" fmla="*/ 122739 w 444350"/>
              <a:gd name="connsiteY94" fmla="*/ 80102 h 605161"/>
              <a:gd name="connsiteX95" fmla="*/ 148179 w 444350"/>
              <a:gd name="connsiteY95" fmla="*/ 35517 h 605161"/>
              <a:gd name="connsiteX96" fmla="*/ 171761 w 444350"/>
              <a:gd name="connsiteY96" fmla="*/ 16144 h 605161"/>
              <a:gd name="connsiteX97" fmla="*/ 194600 w 444350"/>
              <a:gd name="connsiteY97" fmla="*/ 4372 h 605161"/>
              <a:gd name="connsiteX98" fmla="*/ 215397 w 444350"/>
              <a:gd name="connsiteY98" fmla="*/ 387 h 60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44350" h="605161">
                <a:moveTo>
                  <a:pt x="219401" y="389328"/>
                </a:moveTo>
                <a:cubicBezTo>
                  <a:pt x="217823" y="389328"/>
                  <a:pt x="216430" y="390718"/>
                  <a:pt x="216430" y="392295"/>
                </a:cubicBezTo>
                <a:lnTo>
                  <a:pt x="216430" y="405460"/>
                </a:lnTo>
                <a:cubicBezTo>
                  <a:pt x="208168" y="406665"/>
                  <a:pt x="201298" y="409724"/>
                  <a:pt x="196100" y="414731"/>
                </a:cubicBezTo>
                <a:cubicBezTo>
                  <a:pt x="190437" y="420108"/>
                  <a:pt x="187559" y="427154"/>
                  <a:pt x="187559" y="435591"/>
                </a:cubicBezTo>
                <a:cubicBezTo>
                  <a:pt x="187559" y="444955"/>
                  <a:pt x="190158" y="452001"/>
                  <a:pt x="195635" y="456822"/>
                </a:cubicBezTo>
                <a:cubicBezTo>
                  <a:pt x="201113" y="461643"/>
                  <a:pt x="209653" y="466464"/>
                  <a:pt x="221536" y="471192"/>
                </a:cubicBezTo>
                <a:cubicBezTo>
                  <a:pt x="226363" y="473325"/>
                  <a:pt x="229798" y="475364"/>
                  <a:pt x="231655" y="477589"/>
                </a:cubicBezTo>
                <a:cubicBezTo>
                  <a:pt x="233512" y="479722"/>
                  <a:pt x="234533" y="482781"/>
                  <a:pt x="234533" y="486768"/>
                </a:cubicBezTo>
                <a:cubicBezTo>
                  <a:pt x="234533" y="490198"/>
                  <a:pt x="233604" y="492980"/>
                  <a:pt x="231748" y="495019"/>
                </a:cubicBezTo>
                <a:cubicBezTo>
                  <a:pt x="229891" y="497152"/>
                  <a:pt x="227199" y="498264"/>
                  <a:pt x="223578" y="498264"/>
                </a:cubicBezTo>
                <a:cubicBezTo>
                  <a:pt x="219308" y="498264"/>
                  <a:pt x="215780" y="496874"/>
                  <a:pt x="213088" y="494185"/>
                </a:cubicBezTo>
                <a:cubicBezTo>
                  <a:pt x="210860" y="491960"/>
                  <a:pt x="209468" y="488529"/>
                  <a:pt x="209096" y="483894"/>
                </a:cubicBezTo>
                <a:cubicBezTo>
                  <a:pt x="209004" y="482225"/>
                  <a:pt x="207425" y="480834"/>
                  <a:pt x="205569" y="480834"/>
                </a:cubicBezTo>
                <a:lnTo>
                  <a:pt x="187559" y="481205"/>
                </a:lnTo>
                <a:cubicBezTo>
                  <a:pt x="185609" y="481205"/>
                  <a:pt x="184031" y="482781"/>
                  <a:pt x="184124" y="484821"/>
                </a:cubicBezTo>
                <a:cubicBezTo>
                  <a:pt x="184588" y="494278"/>
                  <a:pt x="187745" y="501695"/>
                  <a:pt x="193407" y="506886"/>
                </a:cubicBezTo>
                <a:cubicBezTo>
                  <a:pt x="199627" y="512635"/>
                  <a:pt x="207240" y="515972"/>
                  <a:pt x="216709" y="516714"/>
                </a:cubicBezTo>
                <a:lnTo>
                  <a:pt x="216709" y="528952"/>
                </a:lnTo>
                <a:cubicBezTo>
                  <a:pt x="216709" y="530528"/>
                  <a:pt x="218008" y="531919"/>
                  <a:pt x="219679" y="531919"/>
                </a:cubicBezTo>
                <a:lnTo>
                  <a:pt x="230262" y="531919"/>
                </a:lnTo>
                <a:cubicBezTo>
                  <a:pt x="231933" y="531919"/>
                  <a:pt x="233233" y="530528"/>
                  <a:pt x="233233" y="528952"/>
                </a:cubicBezTo>
                <a:lnTo>
                  <a:pt x="233233" y="516343"/>
                </a:lnTo>
                <a:cubicBezTo>
                  <a:pt x="240567" y="514952"/>
                  <a:pt x="246601" y="512078"/>
                  <a:pt x="251336" y="507535"/>
                </a:cubicBezTo>
                <a:cubicBezTo>
                  <a:pt x="256906" y="502251"/>
                  <a:pt x="259598" y="495205"/>
                  <a:pt x="259598" y="486490"/>
                </a:cubicBezTo>
                <a:cubicBezTo>
                  <a:pt x="259598" y="477404"/>
                  <a:pt x="256906" y="470358"/>
                  <a:pt x="251429" y="465352"/>
                </a:cubicBezTo>
                <a:cubicBezTo>
                  <a:pt x="246044" y="460438"/>
                  <a:pt x="237503" y="455524"/>
                  <a:pt x="225806" y="450518"/>
                </a:cubicBezTo>
                <a:cubicBezTo>
                  <a:pt x="220793" y="448293"/>
                  <a:pt x="217451" y="446067"/>
                  <a:pt x="215595" y="444028"/>
                </a:cubicBezTo>
                <a:cubicBezTo>
                  <a:pt x="213738" y="441895"/>
                  <a:pt x="212810" y="439021"/>
                  <a:pt x="212810" y="435591"/>
                </a:cubicBezTo>
                <a:cubicBezTo>
                  <a:pt x="212810" y="432161"/>
                  <a:pt x="213738" y="429379"/>
                  <a:pt x="215409" y="427154"/>
                </a:cubicBezTo>
                <a:cubicBezTo>
                  <a:pt x="217173" y="424929"/>
                  <a:pt x="219772" y="423817"/>
                  <a:pt x="223393" y="423817"/>
                </a:cubicBezTo>
                <a:cubicBezTo>
                  <a:pt x="226828" y="423817"/>
                  <a:pt x="229705" y="425207"/>
                  <a:pt x="231748" y="427896"/>
                </a:cubicBezTo>
                <a:cubicBezTo>
                  <a:pt x="233419" y="430121"/>
                  <a:pt x="234347" y="433088"/>
                  <a:pt x="234718" y="437074"/>
                </a:cubicBezTo>
                <a:cubicBezTo>
                  <a:pt x="234904" y="438929"/>
                  <a:pt x="236575" y="440134"/>
                  <a:pt x="238339" y="440134"/>
                </a:cubicBezTo>
                <a:lnTo>
                  <a:pt x="256442" y="439948"/>
                </a:lnTo>
                <a:cubicBezTo>
                  <a:pt x="258391" y="439948"/>
                  <a:pt x="259969" y="438280"/>
                  <a:pt x="259876" y="436333"/>
                </a:cubicBezTo>
                <a:cubicBezTo>
                  <a:pt x="259412" y="428452"/>
                  <a:pt x="256906" y="421870"/>
                  <a:pt x="252357" y="416585"/>
                </a:cubicBezTo>
                <a:cubicBezTo>
                  <a:pt x="247530" y="411022"/>
                  <a:pt x="241217" y="407499"/>
                  <a:pt x="233419" y="405923"/>
                </a:cubicBezTo>
                <a:lnTo>
                  <a:pt x="233419" y="392295"/>
                </a:lnTo>
                <a:cubicBezTo>
                  <a:pt x="233419" y="390718"/>
                  <a:pt x="232119" y="389328"/>
                  <a:pt x="230448" y="389328"/>
                </a:cubicBezTo>
                <a:close/>
                <a:moveTo>
                  <a:pt x="209746" y="316549"/>
                </a:moveTo>
                <a:lnTo>
                  <a:pt x="234533" y="316549"/>
                </a:lnTo>
                <a:lnTo>
                  <a:pt x="234533" y="345197"/>
                </a:lnTo>
                <a:cubicBezTo>
                  <a:pt x="288841" y="350945"/>
                  <a:pt x="332287" y="394149"/>
                  <a:pt x="337950" y="448571"/>
                </a:cubicBezTo>
                <a:lnTo>
                  <a:pt x="366728" y="448571"/>
                </a:lnTo>
                <a:lnTo>
                  <a:pt x="366728" y="473139"/>
                </a:lnTo>
                <a:lnTo>
                  <a:pt x="337950" y="473139"/>
                </a:lnTo>
                <a:cubicBezTo>
                  <a:pt x="332287" y="527468"/>
                  <a:pt x="288933" y="570858"/>
                  <a:pt x="234533" y="576513"/>
                </a:cubicBezTo>
                <a:lnTo>
                  <a:pt x="234533" y="605161"/>
                </a:lnTo>
                <a:lnTo>
                  <a:pt x="209746" y="605161"/>
                </a:lnTo>
                <a:lnTo>
                  <a:pt x="209746" y="576513"/>
                </a:lnTo>
                <a:cubicBezTo>
                  <a:pt x="155438" y="570858"/>
                  <a:pt x="111992" y="527561"/>
                  <a:pt x="106237" y="473139"/>
                </a:cubicBezTo>
                <a:lnTo>
                  <a:pt x="77551" y="473139"/>
                </a:lnTo>
                <a:lnTo>
                  <a:pt x="77551" y="448571"/>
                </a:lnTo>
                <a:lnTo>
                  <a:pt x="106237" y="448571"/>
                </a:lnTo>
                <a:cubicBezTo>
                  <a:pt x="111992" y="394334"/>
                  <a:pt x="155253" y="350945"/>
                  <a:pt x="209746" y="345197"/>
                </a:cubicBezTo>
                <a:close/>
                <a:moveTo>
                  <a:pt x="215397" y="387"/>
                </a:moveTo>
                <a:cubicBezTo>
                  <a:pt x="238051" y="-1560"/>
                  <a:pt x="255320" y="4094"/>
                  <a:pt x="267668" y="11417"/>
                </a:cubicBezTo>
                <a:cubicBezTo>
                  <a:pt x="285959" y="21520"/>
                  <a:pt x="293015" y="35053"/>
                  <a:pt x="293015" y="35053"/>
                </a:cubicBezTo>
                <a:cubicBezTo>
                  <a:pt x="293015" y="35053"/>
                  <a:pt x="335259" y="38020"/>
                  <a:pt x="321054" y="123667"/>
                </a:cubicBezTo>
                <a:cubicBezTo>
                  <a:pt x="320497" y="126263"/>
                  <a:pt x="319939" y="128951"/>
                  <a:pt x="319197" y="131546"/>
                </a:cubicBezTo>
                <a:cubicBezTo>
                  <a:pt x="327181" y="131546"/>
                  <a:pt x="335351" y="137756"/>
                  <a:pt x="326624" y="168716"/>
                </a:cubicBezTo>
                <a:cubicBezTo>
                  <a:pt x="319661" y="192816"/>
                  <a:pt x="313348" y="199675"/>
                  <a:pt x="308520" y="200046"/>
                </a:cubicBezTo>
                <a:cubicBezTo>
                  <a:pt x="306756" y="210891"/>
                  <a:pt x="302578" y="223033"/>
                  <a:pt x="295893" y="234527"/>
                </a:cubicBezTo>
                <a:lnTo>
                  <a:pt x="295893" y="277536"/>
                </a:lnTo>
                <a:cubicBezTo>
                  <a:pt x="295893" y="279019"/>
                  <a:pt x="296729" y="280317"/>
                  <a:pt x="298121" y="281059"/>
                </a:cubicBezTo>
                <a:cubicBezTo>
                  <a:pt x="310469" y="287176"/>
                  <a:pt x="371653" y="318043"/>
                  <a:pt x="428381" y="364482"/>
                </a:cubicBezTo>
                <a:cubicBezTo>
                  <a:pt x="438501" y="372824"/>
                  <a:pt x="444350" y="385430"/>
                  <a:pt x="444350" y="398500"/>
                </a:cubicBezTo>
                <a:lnTo>
                  <a:pt x="444350" y="461067"/>
                </a:lnTo>
                <a:lnTo>
                  <a:pt x="388365" y="461067"/>
                </a:lnTo>
                <a:lnTo>
                  <a:pt x="388365" y="448554"/>
                </a:lnTo>
                <a:cubicBezTo>
                  <a:pt x="388365" y="436596"/>
                  <a:pt x="378709" y="426956"/>
                  <a:pt x="366733" y="426956"/>
                </a:cubicBezTo>
                <a:lnTo>
                  <a:pt x="356056" y="426956"/>
                </a:lnTo>
                <a:cubicBezTo>
                  <a:pt x="343522" y="378200"/>
                  <a:pt x="304899" y="339640"/>
                  <a:pt x="256156" y="327219"/>
                </a:cubicBezTo>
                <a:lnTo>
                  <a:pt x="256156" y="316560"/>
                </a:lnTo>
                <a:cubicBezTo>
                  <a:pt x="256156" y="304602"/>
                  <a:pt x="246500" y="294962"/>
                  <a:pt x="234523" y="294962"/>
                </a:cubicBezTo>
                <a:lnTo>
                  <a:pt x="209734" y="294962"/>
                </a:lnTo>
                <a:cubicBezTo>
                  <a:pt x="197757" y="294962"/>
                  <a:pt x="188101" y="304602"/>
                  <a:pt x="188101" y="316560"/>
                </a:cubicBezTo>
                <a:lnTo>
                  <a:pt x="188101" y="327219"/>
                </a:lnTo>
                <a:cubicBezTo>
                  <a:pt x="139266" y="339547"/>
                  <a:pt x="100643" y="378200"/>
                  <a:pt x="88202" y="426956"/>
                </a:cubicBezTo>
                <a:lnTo>
                  <a:pt x="77525" y="426956"/>
                </a:lnTo>
                <a:cubicBezTo>
                  <a:pt x="65548" y="426956"/>
                  <a:pt x="55892" y="436596"/>
                  <a:pt x="55892" y="448554"/>
                </a:cubicBezTo>
                <a:lnTo>
                  <a:pt x="55985" y="448554"/>
                </a:lnTo>
                <a:lnTo>
                  <a:pt x="55985" y="461067"/>
                </a:lnTo>
                <a:lnTo>
                  <a:pt x="0" y="461067"/>
                </a:lnTo>
                <a:lnTo>
                  <a:pt x="0" y="398500"/>
                </a:lnTo>
                <a:cubicBezTo>
                  <a:pt x="0" y="385430"/>
                  <a:pt x="5849" y="372824"/>
                  <a:pt x="15969" y="364482"/>
                </a:cubicBezTo>
                <a:cubicBezTo>
                  <a:pt x="72697" y="318043"/>
                  <a:pt x="133881" y="287176"/>
                  <a:pt x="146229" y="281059"/>
                </a:cubicBezTo>
                <a:cubicBezTo>
                  <a:pt x="147621" y="280502"/>
                  <a:pt x="148457" y="279112"/>
                  <a:pt x="148457" y="277536"/>
                </a:cubicBezTo>
                <a:lnTo>
                  <a:pt x="148457" y="234527"/>
                </a:lnTo>
                <a:cubicBezTo>
                  <a:pt x="141772" y="223033"/>
                  <a:pt x="137594" y="210983"/>
                  <a:pt x="135830" y="200046"/>
                </a:cubicBezTo>
                <a:cubicBezTo>
                  <a:pt x="131002" y="199675"/>
                  <a:pt x="124596" y="192816"/>
                  <a:pt x="117726" y="168716"/>
                </a:cubicBezTo>
                <a:cubicBezTo>
                  <a:pt x="109091" y="138220"/>
                  <a:pt x="116890" y="131824"/>
                  <a:pt x="124782" y="131546"/>
                </a:cubicBezTo>
                <a:cubicBezTo>
                  <a:pt x="124039" y="128951"/>
                  <a:pt x="123482" y="126263"/>
                  <a:pt x="122925" y="123667"/>
                </a:cubicBezTo>
                <a:cubicBezTo>
                  <a:pt x="119861" y="108188"/>
                  <a:pt x="119118" y="93820"/>
                  <a:pt x="122739" y="80102"/>
                </a:cubicBezTo>
                <a:cubicBezTo>
                  <a:pt x="127010" y="61749"/>
                  <a:pt x="137037" y="46918"/>
                  <a:pt x="148179" y="35517"/>
                </a:cubicBezTo>
                <a:cubicBezTo>
                  <a:pt x="155235" y="28102"/>
                  <a:pt x="163219" y="21428"/>
                  <a:pt x="171761" y="16144"/>
                </a:cubicBezTo>
                <a:cubicBezTo>
                  <a:pt x="178631" y="11324"/>
                  <a:pt x="186337" y="7246"/>
                  <a:pt x="194600" y="4372"/>
                </a:cubicBezTo>
                <a:cubicBezTo>
                  <a:pt x="201192" y="2148"/>
                  <a:pt x="208156" y="757"/>
                  <a:pt x="215397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2C55C002-A296-4E28-ACD6-2A6883D0DEC9}"/>
              </a:ext>
            </a:extLst>
          </p:cNvPr>
          <p:cNvSpPr/>
          <p:nvPr/>
        </p:nvSpPr>
        <p:spPr bwMode="auto">
          <a:xfrm>
            <a:off x="10373133" y="2305051"/>
            <a:ext cx="419632" cy="571498"/>
          </a:xfrm>
          <a:custGeom>
            <a:avLst/>
            <a:gdLst>
              <a:gd name="connsiteX0" fmla="*/ 219401 w 444350"/>
              <a:gd name="connsiteY0" fmla="*/ 389328 h 605161"/>
              <a:gd name="connsiteX1" fmla="*/ 216430 w 444350"/>
              <a:gd name="connsiteY1" fmla="*/ 392295 h 605161"/>
              <a:gd name="connsiteX2" fmla="*/ 216430 w 444350"/>
              <a:gd name="connsiteY2" fmla="*/ 405460 h 605161"/>
              <a:gd name="connsiteX3" fmla="*/ 196100 w 444350"/>
              <a:gd name="connsiteY3" fmla="*/ 414731 h 605161"/>
              <a:gd name="connsiteX4" fmla="*/ 187559 w 444350"/>
              <a:gd name="connsiteY4" fmla="*/ 435591 h 605161"/>
              <a:gd name="connsiteX5" fmla="*/ 195635 w 444350"/>
              <a:gd name="connsiteY5" fmla="*/ 456822 h 605161"/>
              <a:gd name="connsiteX6" fmla="*/ 221536 w 444350"/>
              <a:gd name="connsiteY6" fmla="*/ 471192 h 605161"/>
              <a:gd name="connsiteX7" fmla="*/ 231655 w 444350"/>
              <a:gd name="connsiteY7" fmla="*/ 477589 h 605161"/>
              <a:gd name="connsiteX8" fmla="*/ 234533 w 444350"/>
              <a:gd name="connsiteY8" fmla="*/ 486768 h 605161"/>
              <a:gd name="connsiteX9" fmla="*/ 231748 w 444350"/>
              <a:gd name="connsiteY9" fmla="*/ 495019 h 605161"/>
              <a:gd name="connsiteX10" fmla="*/ 223578 w 444350"/>
              <a:gd name="connsiteY10" fmla="*/ 498264 h 605161"/>
              <a:gd name="connsiteX11" fmla="*/ 213088 w 444350"/>
              <a:gd name="connsiteY11" fmla="*/ 494185 h 605161"/>
              <a:gd name="connsiteX12" fmla="*/ 209096 w 444350"/>
              <a:gd name="connsiteY12" fmla="*/ 483894 h 605161"/>
              <a:gd name="connsiteX13" fmla="*/ 205569 w 444350"/>
              <a:gd name="connsiteY13" fmla="*/ 480834 h 605161"/>
              <a:gd name="connsiteX14" fmla="*/ 187559 w 444350"/>
              <a:gd name="connsiteY14" fmla="*/ 481205 h 605161"/>
              <a:gd name="connsiteX15" fmla="*/ 184124 w 444350"/>
              <a:gd name="connsiteY15" fmla="*/ 484821 h 605161"/>
              <a:gd name="connsiteX16" fmla="*/ 193407 w 444350"/>
              <a:gd name="connsiteY16" fmla="*/ 506886 h 605161"/>
              <a:gd name="connsiteX17" fmla="*/ 216709 w 444350"/>
              <a:gd name="connsiteY17" fmla="*/ 516714 h 605161"/>
              <a:gd name="connsiteX18" fmla="*/ 216709 w 444350"/>
              <a:gd name="connsiteY18" fmla="*/ 528952 h 605161"/>
              <a:gd name="connsiteX19" fmla="*/ 219679 w 444350"/>
              <a:gd name="connsiteY19" fmla="*/ 531919 h 605161"/>
              <a:gd name="connsiteX20" fmla="*/ 230262 w 444350"/>
              <a:gd name="connsiteY20" fmla="*/ 531919 h 605161"/>
              <a:gd name="connsiteX21" fmla="*/ 233233 w 444350"/>
              <a:gd name="connsiteY21" fmla="*/ 528952 h 605161"/>
              <a:gd name="connsiteX22" fmla="*/ 233233 w 444350"/>
              <a:gd name="connsiteY22" fmla="*/ 516343 h 605161"/>
              <a:gd name="connsiteX23" fmla="*/ 251336 w 444350"/>
              <a:gd name="connsiteY23" fmla="*/ 507535 h 605161"/>
              <a:gd name="connsiteX24" fmla="*/ 259598 w 444350"/>
              <a:gd name="connsiteY24" fmla="*/ 486490 h 605161"/>
              <a:gd name="connsiteX25" fmla="*/ 251429 w 444350"/>
              <a:gd name="connsiteY25" fmla="*/ 465352 h 605161"/>
              <a:gd name="connsiteX26" fmla="*/ 225806 w 444350"/>
              <a:gd name="connsiteY26" fmla="*/ 450518 h 605161"/>
              <a:gd name="connsiteX27" fmla="*/ 215595 w 444350"/>
              <a:gd name="connsiteY27" fmla="*/ 444028 h 605161"/>
              <a:gd name="connsiteX28" fmla="*/ 212810 w 444350"/>
              <a:gd name="connsiteY28" fmla="*/ 435591 h 605161"/>
              <a:gd name="connsiteX29" fmla="*/ 215409 w 444350"/>
              <a:gd name="connsiteY29" fmla="*/ 427154 h 605161"/>
              <a:gd name="connsiteX30" fmla="*/ 223393 w 444350"/>
              <a:gd name="connsiteY30" fmla="*/ 423817 h 605161"/>
              <a:gd name="connsiteX31" fmla="*/ 231748 w 444350"/>
              <a:gd name="connsiteY31" fmla="*/ 427896 h 605161"/>
              <a:gd name="connsiteX32" fmla="*/ 234718 w 444350"/>
              <a:gd name="connsiteY32" fmla="*/ 437074 h 605161"/>
              <a:gd name="connsiteX33" fmla="*/ 238339 w 444350"/>
              <a:gd name="connsiteY33" fmla="*/ 440134 h 605161"/>
              <a:gd name="connsiteX34" fmla="*/ 256442 w 444350"/>
              <a:gd name="connsiteY34" fmla="*/ 439948 h 605161"/>
              <a:gd name="connsiteX35" fmla="*/ 259876 w 444350"/>
              <a:gd name="connsiteY35" fmla="*/ 436333 h 605161"/>
              <a:gd name="connsiteX36" fmla="*/ 252357 w 444350"/>
              <a:gd name="connsiteY36" fmla="*/ 416585 h 605161"/>
              <a:gd name="connsiteX37" fmla="*/ 233419 w 444350"/>
              <a:gd name="connsiteY37" fmla="*/ 405923 h 605161"/>
              <a:gd name="connsiteX38" fmla="*/ 233419 w 444350"/>
              <a:gd name="connsiteY38" fmla="*/ 392295 h 605161"/>
              <a:gd name="connsiteX39" fmla="*/ 230448 w 444350"/>
              <a:gd name="connsiteY39" fmla="*/ 389328 h 605161"/>
              <a:gd name="connsiteX40" fmla="*/ 209746 w 444350"/>
              <a:gd name="connsiteY40" fmla="*/ 316549 h 605161"/>
              <a:gd name="connsiteX41" fmla="*/ 234533 w 444350"/>
              <a:gd name="connsiteY41" fmla="*/ 316549 h 605161"/>
              <a:gd name="connsiteX42" fmla="*/ 234533 w 444350"/>
              <a:gd name="connsiteY42" fmla="*/ 345197 h 605161"/>
              <a:gd name="connsiteX43" fmla="*/ 337950 w 444350"/>
              <a:gd name="connsiteY43" fmla="*/ 448571 h 605161"/>
              <a:gd name="connsiteX44" fmla="*/ 366728 w 444350"/>
              <a:gd name="connsiteY44" fmla="*/ 448571 h 605161"/>
              <a:gd name="connsiteX45" fmla="*/ 366728 w 444350"/>
              <a:gd name="connsiteY45" fmla="*/ 473139 h 605161"/>
              <a:gd name="connsiteX46" fmla="*/ 337950 w 444350"/>
              <a:gd name="connsiteY46" fmla="*/ 473139 h 605161"/>
              <a:gd name="connsiteX47" fmla="*/ 234533 w 444350"/>
              <a:gd name="connsiteY47" fmla="*/ 576513 h 605161"/>
              <a:gd name="connsiteX48" fmla="*/ 234533 w 444350"/>
              <a:gd name="connsiteY48" fmla="*/ 605161 h 605161"/>
              <a:gd name="connsiteX49" fmla="*/ 209746 w 444350"/>
              <a:gd name="connsiteY49" fmla="*/ 605161 h 605161"/>
              <a:gd name="connsiteX50" fmla="*/ 209746 w 444350"/>
              <a:gd name="connsiteY50" fmla="*/ 576513 h 605161"/>
              <a:gd name="connsiteX51" fmla="*/ 106237 w 444350"/>
              <a:gd name="connsiteY51" fmla="*/ 473139 h 605161"/>
              <a:gd name="connsiteX52" fmla="*/ 77551 w 444350"/>
              <a:gd name="connsiteY52" fmla="*/ 473139 h 605161"/>
              <a:gd name="connsiteX53" fmla="*/ 77551 w 444350"/>
              <a:gd name="connsiteY53" fmla="*/ 448571 h 605161"/>
              <a:gd name="connsiteX54" fmla="*/ 106237 w 444350"/>
              <a:gd name="connsiteY54" fmla="*/ 448571 h 605161"/>
              <a:gd name="connsiteX55" fmla="*/ 209746 w 444350"/>
              <a:gd name="connsiteY55" fmla="*/ 345197 h 605161"/>
              <a:gd name="connsiteX56" fmla="*/ 215397 w 444350"/>
              <a:gd name="connsiteY56" fmla="*/ 387 h 605161"/>
              <a:gd name="connsiteX57" fmla="*/ 267668 w 444350"/>
              <a:gd name="connsiteY57" fmla="*/ 11417 h 605161"/>
              <a:gd name="connsiteX58" fmla="*/ 293015 w 444350"/>
              <a:gd name="connsiteY58" fmla="*/ 35053 h 605161"/>
              <a:gd name="connsiteX59" fmla="*/ 321054 w 444350"/>
              <a:gd name="connsiteY59" fmla="*/ 123667 h 605161"/>
              <a:gd name="connsiteX60" fmla="*/ 319197 w 444350"/>
              <a:gd name="connsiteY60" fmla="*/ 131546 h 605161"/>
              <a:gd name="connsiteX61" fmla="*/ 326624 w 444350"/>
              <a:gd name="connsiteY61" fmla="*/ 168716 h 605161"/>
              <a:gd name="connsiteX62" fmla="*/ 308520 w 444350"/>
              <a:gd name="connsiteY62" fmla="*/ 200046 h 605161"/>
              <a:gd name="connsiteX63" fmla="*/ 295893 w 444350"/>
              <a:gd name="connsiteY63" fmla="*/ 234527 h 605161"/>
              <a:gd name="connsiteX64" fmla="*/ 295893 w 444350"/>
              <a:gd name="connsiteY64" fmla="*/ 277536 h 605161"/>
              <a:gd name="connsiteX65" fmla="*/ 298121 w 444350"/>
              <a:gd name="connsiteY65" fmla="*/ 281059 h 605161"/>
              <a:gd name="connsiteX66" fmla="*/ 428381 w 444350"/>
              <a:gd name="connsiteY66" fmla="*/ 364482 h 605161"/>
              <a:gd name="connsiteX67" fmla="*/ 444350 w 444350"/>
              <a:gd name="connsiteY67" fmla="*/ 398500 h 605161"/>
              <a:gd name="connsiteX68" fmla="*/ 444350 w 444350"/>
              <a:gd name="connsiteY68" fmla="*/ 461067 h 605161"/>
              <a:gd name="connsiteX69" fmla="*/ 388365 w 444350"/>
              <a:gd name="connsiteY69" fmla="*/ 461067 h 605161"/>
              <a:gd name="connsiteX70" fmla="*/ 388365 w 444350"/>
              <a:gd name="connsiteY70" fmla="*/ 448554 h 605161"/>
              <a:gd name="connsiteX71" fmla="*/ 366733 w 444350"/>
              <a:gd name="connsiteY71" fmla="*/ 426956 h 605161"/>
              <a:gd name="connsiteX72" fmla="*/ 356056 w 444350"/>
              <a:gd name="connsiteY72" fmla="*/ 426956 h 605161"/>
              <a:gd name="connsiteX73" fmla="*/ 256156 w 444350"/>
              <a:gd name="connsiteY73" fmla="*/ 327219 h 605161"/>
              <a:gd name="connsiteX74" fmla="*/ 256156 w 444350"/>
              <a:gd name="connsiteY74" fmla="*/ 316560 h 605161"/>
              <a:gd name="connsiteX75" fmla="*/ 234523 w 444350"/>
              <a:gd name="connsiteY75" fmla="*/ 294962 h 605161"/>
              <a:gd name="connsiteX76" fmla="*/ 209734 w 444350"/>
              <a:gd name="connsiteY76" fmla="*/ 294962 h 605161"/>
              <a:gd name="connsiteX77" fmla="*/ 188101 w 444350"/>
              <a:gd name="connsiteY77" fmla="*/ 316560 h 605161"/>
              <a:gd name="connsiteX78" fmla="*/ 188101 w 444350"/>
              <a:gd name="connsiteY78" fmla="*/ 327219 h 605161"/>
              <a:gd name="connsiteX79" fmla="*/ 88202 w 444350"/>
              <a:gd name="connsiteY79" fmla="*/ 426956 h 605161"/>
              <a:gd name="connsiteX80" fmla="*/ 77525 w 444350"/>
              <a:gd name="connsiteY80" fmla="*/ 426956 h 605161"/>
              <a:gd name="connsiteX81" fmla="*/ 55892 w 444350"/>
              <a:gd name="connsiteY81" fmla="*/ 448554 h 605161"/>
              <a:gd name="connsiteX82" fmla="*/ 55985 w 444350"/>
              <a:gd name="connsiteY82" fmla="*/ 448554 h 605161"/>
              <a:gd name="connsiteX83" fmla="*/ 55985 w 444350"/>
              <a:gd name="connsiteY83" fmla="*/ 461067 h 605161"/>
              <a:gd name="connsiteX84" fmla="*/ 0 w 444350"/>
              <a:gd name="connsiteY84" fmla="*/ 461067 h 605161"/>
              <a:gd name="connsiteX85" fmla="*/ 0 w 444350"/>
              <a:gd name="connsiteY85" fmla="*/ 398500 h 605161"/>
              <a:gd name="connsiteX86" fmla="*/ 15969 w 444350"/>
              <a:gd name="connsiteY86" fmla="*/ 364482 h 605161"/>
              <a:gd name="connsiteX87" fmla="*/ 146229 w 444350"/>
              <a:gd name="connsiteY87" fmla="*/ 281059 h 605161"/>
              <a:gd name="connsiteX88" fmla="*/ 148457 w 444350"/>
              <a:gd name="connsiteY88" fmla="*/ 277536 h 605161"/>
              <a:gd name="connsiteX89" fmla="*/ 148457 w 444350"/>
              <a:gd name="connsiteY89" fmla="*/ 234527 h 605161"/>
              <a:gd name="connsiteX90" fmla="*/ 135830 w 444350"/>
              <a:gd name="connsiteY90" fmla="*/ 200046 h 605161"/>
              <a:gd name="connsiteX91" fmla="*/ 117726 w 444350"/>
              <a:gd name="connsiteY91" fmla="*/ 168716 h 605161"/>
              <a:gd name="connsiteX92" fmla="*/ 124782 w 444350"/>
              <a:gd name="connsiteY92" fmla="*/ 131546 h 605161"/>
              <a:gd name="connsiteX93" fmla="*/ 122925 w 444350"/>
              <a:gd name="connsiteY93" fmla="*/ 123667 h 605161"/>
              <a:gd name="connsiteX94" fmla="*/ 122739 w 444350"/>
              <a:gd name="connsiteY94" fmla="*/ 80102 h 605161"/>
              <a:gd name="connsiteX95" fmla="*/ 148179 w 444350"/>
              <a:gd name="connsiteY95" fmla="*/ 35517 h 605161"/>
              <a:gd name="connsiteX96" fmla="*/ 171761 w 444350"/>
              <a:gd name="connsiteY96" fmla="*/ 16144 h 605161"/>
              <a:gd name="connsiteX97" fmla="*/ 194600 w 444350"/>
              <a:gd name="connsiteY97" fmla="*/ 4372 h 605161"/>
              <a:gd name="connsiteX98" fmla="*/ 215397 w 444350"/>
              <a:gd name="connsiteY98" fmla="*/ 387 h 605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444350" h="605161">
                <a:moveTo>
                  <a:pt x="219401" y="389328"/>
                </a:moveTo>
                <a:cubicBezTo>
                  <a:pt x="217823" y="389328"/>
                  <a:pt x="216430" y="390718"/>
                  <a:pt x="216430" y="392295"/>
                </a:cubicBezTo>
                <a:lnTo>
                  <a:pt x="216430" y="405460"/>
                </a:lnTo>
                <a:cubicBezTo>
                  <a:pt x="208168" y="406665"/>
                  <a:pt x="201298" y="409724"/>
                  <a:pt x="196100" y="414731"/>
                </a:cubicBezTo>
                <a:cubicBezTo>
                  <a:pt x="190437" y="420108"/>
                  <a:pt x="187559" y="427154"/>
                  <a:pt x="187559" y="435591"/>
                </a:cubicBezTo>
                <a:cubicBezTo>
                  <a:pt x="187559" y="444955"/>
                  <a:pt x="190158" y="452001"/>
                  <a:pt x="195635" y="456822"/>
                </a:cubicBezTo>
                <a:cubicBezTo>
                  <a:pt x="201113" y="461643"/>
                  <a:pt x="209653" y="466464"/>
                  <a:pt x="221536" y="471192"/>
                </a:cubicBezTo>
                <a:cubicBezTo>
                  <a:pt x="226363" y="473325"/>
                  <a:pt x="229798" y="475364"/>
                  <a:pt x="231655" y="477589"/>
                </a:cubicBezTo>
                <a:cubicBezTo>
                  <a:pt x="233512" y="479722"/>
                  <a:pt x="234533" y="482781"/>
                  <a:pt x="234533" y="486768"/>
                </a:cubicBezTo>
                <a:cubicBezTo>
                  <a:pt x="234533" y="490198"/>
                  <a:pt x="233604" y="492980"/>
                  <a:pt x="231748" y="495019"/>
                </a:cubicBezTo>
                <a:cubicBezTo>
                  <a:pt x="229891" y="497152"/>
                  <a:pt x="227199" y="498264"/>
                  <a:pt x="223578" y="498264"/>
                </a:cubicBezTo>
                <a:cubicBezTo>
                  <a:pt x="219308" y="498264"/>
                  <a:pt x="215780" y="496874"/>
                  <a:pt x="213088" y="494185"/>
                </a:cubicBezTo>
                <a:cubicBezTo>
                  <a:pt x="210860" y="491960"/>
                  <a:pt x="209468" y="488529"/>
                  <a:pt x="209096" y="483894"/>
                </a:cubicBezTo>
                <a:cubicBezTo>
                  <a:pt x="209004" y="482225"/>
                  <a:pt x="207425" y="480834"/>
                  <a:pt x="205569" y="480834"/>
                </a:cubicBezTo>
                <a:lnTo>
                  <a:pt x="187559" y="481205"/>
                </a:lnTo>
                <a:cubicBezTo>
                  <a:pt x="185609" y="481205"/>
                  <a:pt x="184031" y="482781"/>
                  <a:pt x="184124" y="484821"/>
                </a:cubicBezTo>
                <a:cubicBezTo>
                  <a:pt x="184588" y="494278"/>
                  <a:pt x="187745" y="501695"/>
                  <a:pt x="193407" y="506886"/>
                </a:cubicBezTo>
                <a:cubicBezTo>
                  <a:pt x="199627" y="512635"/>
                  <a:pt x="207240" y="515972"/>
                  <a:pt x="216709" y="516714"/>
                </a:cubicBezTo>
                <a:lnTo>
                  <a:pt x="216709" y="528952"/>
                </a:lnTo>
                <a:cubicBezTo>
                  <a:pt x="216709" y="530528"/>
                  <a:pt x="218008" y="531919"/>
                  <a:pt x="219679" y="531919"/>
                </a:cubicBezTo>
                <a:lnTo>
                  <a:pt x="230262" y="531919"/>
                </a:lnTo>
                <a:cubicBezTo>
                  <a:pt x="231933" y="531919"/>
                  <a:pt x="233233" y="530528"/>
                  <a:pt x="233233" y="528952"/>
                </a:cubicBezTo>
                <a:lnTo>
                  <a:pt x="233233" y="516343"/>
                </a:lnTo>
                <a:cubicBezTo>
                  <a:pt x="240567" y="514952"/>
                  <a:pt x="246601" y="512078"/>
                  <a:pt x="251336" y="507535"/>
                </a:cubicBezTo>
                <a:cubicBezTo>
                  <a:pt x="256906" y="502251"/>
                  <a:pt x="259598" y="495205"/>
                  <a:pt x="259598" y="486490"/>
                </a:cubicBezTo>
                <a:cubicBezTo>
                  <a:pt x="259598" y="477404"/>
                  <a:pt x="256906" y="470358"/>
                  <a:pt x="251429" y="465352"/>
                </a:cubicBezTo>
                <a:cubicBezTo>
                  <a:pt x="246044" y="460438"/>
                  <a:pt x="237503" y="455524"/>
                  <a:pt x="225806" y="450518"/>
                </a:cubicBezTo>
                <a:cubicBezTo>
                  <a:pt x="220793" y="448293"/>
                  <a:pt x="217451" y="446067"/>
                  <a:pt x="215595" y="444028"/>
                </a:cubicBezTo>
                <a:cubicBezTo>
                  <a:pt x="213738" y="441895"/>
                  <a:pt x="212810" y="439021"/>
                  <a:pt x="212810" y="435591"/>
                </a:cubicBezTo>
                <a:cubicBezTo>
                  <a:pt x="212810" y="432161"/>
                  <a:pt x="213738" y="429379"/>
                  <a:pt x="215409" y="427154"/>
                </a:cubicBezTo>
                <a:cubicBezTo>
                  <a:pt x="217173" y="424929"/>
                  <a:pt x="219772" y="423817"/>
                  <a:pt x="223393" y="423817"/>
                </a:cubicBezTo>
                <a:cubicBezTo>
                  <a:pt x="226828" y="423817"/>
                  <a:pt x="229705" y="425207"/>
                  <a:pt x="231748" y="427896"/>
                </a:cubicBezTo>
                <a:cubicBezTo>
                  <a:pt x="233419" y="430121"/>
                  <a:pt x="234347" y="433088"/>
                  <a:pt x="234718" y="437074"/>
                </a:cubicBezTo>
                <a:cubicBezTo>
                  <a:pt x="234904" y="438929"/>
                  <a:pt x="236575" y="440134"/>
                  <a:pt x="238339" y="440134"/>
                </a:cubicBezTo>
                <a:lnTo>
                  <a:pt x="256442" y="439948"/>
                </a:lnTo>
                <a:cubicBezTo>
                  <a:pt x="258391" y="439948"/>
                  <a:pt x="259969" y="438280"/>
                  <a:pt x="259876" y="436333"/>
                </a:cubicBezTo>
                <a:cubicBezTo>
                  <a:pt x="259412" y="428452"/>
                  <a:pt x="256906" y="421870"/>
                  <a:pt x="252357" y="416585"/>
                </a:cubicBezTo>
                <a:cubicBezTo>
                  <a:pt x="247530" y="411022"/>
                  <a:pt x="241217" y="407499"/>
                  <a:pt x="233419" y="405923"/>
                </a:cubicBezTo>
                <a:lnTo>
                  <a:pt x="233419" y="392295"/>
                </a:lnTo>
                <a:cubicBezTo>
                  <a:pt x="233419" y="390718"/>
                  <a:pt x="232119" y="389328"/>
                  <a:pt x="230448" y="389328"/>
                </a:cubicBezTo>
                <a:close/>
                <a:moveTo>
                  <a:pt x="209746" y="316549"/>
                </a:moveTo>
                <a:lnTo>
                  <a:pt x="234533" y="316549"/>
                </a:lnTo>
                <a:lnTo>
                  <a:pt x="234533" y="345197"/>
                </a:lnTo>
                <a:cubicBezTo>
                  <a:pt x="288841" y="350945"/>
                  <a:pt x="332287" y="394149"/>
                  <a:pt x="337950" y="448571"/>
                </a:cubicBezTo>
                <a:lnTo>
                  <a:pt x="366728" y="448571"/>
                </a:lnTo>
                <a:lnTo>
                  <a:pt x="366728" y="473139"/>
                </a:lnTo>
                <a:lnTo>
                  <a:pt x="337950" y="473139"/>
                </a:lnTo>
                <a:cubicBezTo>
                  <a:pt x="332287" y="527468"/>
                  <a:pt x="288933" y="570858"/>
                  <a:pt x="234533" y="576513"/>
                </a:cubicBezTo>
                <a:lnTo>
                  <a:pt x="234533" y="605161"/>
                </a:lnTo>
                <a:lnTo>
                  <a:pt x="209746" y="605161"/>
                </a:lnTo>
                <a:lnTo>
                  <a:pt x="209746" y="576513"/>
                </a:lnTo>
                <a:cubicBezTo>
                  <a:pt x="155438" y="570858"/>
                  <a:pt x="111992" y="527561"/>
                  <a:pt x="106237" y="473139"/>
                </a:cubicBezTo>
                <a:lnTo>
                  <a:pt x="77551" y="473139"/>
                </a:lnTo>
                <a:lnTo>
                  <a:pt x="77551" y="448571"/>
                </a:lnTo>
                <a:lnTo>
                  <a:pt x="106237" y="448571"/>
                </a:lnTo>
                <a:cubicBezTo>
                  <a:pt x="111992" y="394334"/>
                  <a:pt x="155253" y="350945"/>
                  <a:pt x="209746" y="345197"/>
                </a:cubicBezTo>
                <a:close/>
                <a:moveTo>
                  <a:pt x="215397" y="387"/>
                </a:moveTo>
                <a:cubicBezTo>
                  <a:pt x="238051" y="-1560"/>
                  <a:pt x="255320" y="4094"/>
                  <a:pt x="267668" y="11417"/>
                </a:cubicBezTo>
                <a:cubicBezTo>
                  <a:pt x="285959" y="21520"/>
                  <a:pt x="293015" y="35053"/>
                  <a:pt x="293015" y="35053"/>
                </a:cubicBezTo>
                <a:cubicBezTo>
                  <a:pt x="293015" y="35053"/>
                  <a:pt x="335259" y="38020"/>
                  <a:pt x="321054" y="123667"/>
                </a:cubicBezTo>
                <a:cubicBezTo>
                  <a:pt x="320497" y="126263"/>
                  <a:pt x="319939" y="128951"/>
                  <a:pt x="319197" y="131546"/>
                </a:cubicBezTo>
                <a:cubicBezTo>
                  <a:pt x="327181" y="131546"/>
                  <a:pt x="335351" y="137756"/>
                  <a:pt x="326624" y="168716"/>
                </a:cubicBezTo>
                <a:cubicBezTo>
                  <a:pt x="319661" y="192816"/>
                  <a:pt x="313348" y="199675"/>
                  <a:pt x="308520" y="200046"/>
                </a:cubicBezTo>
                <a:cubicBezTo>
                  <a:pt x="306756" y="210891"/>
                  <a:pt x="302578" y="223033"/>
                  <a:pt x="295893" y="234527"/>
                </a:cubicBezTo>
                <a:lnTo>
                  <a:pt x="295893" y="277536"/>
                </a:lnTo>
                <a:cubicBezTo>
                  <a:pt x="295893" y="279019"/>
                  <a:pt x="296729" y="280317"/>
                  <a:pt x="298121" y="281059"/>
                </a:cubicBezTo>
                <a:cubicBezTo>
                  <a:pt x="310469" y="287176"/>
                  <a:pt x="371653" y="318043"/>
                  <a:pt x="428381" y="364482"/>
                </a:cubicBezTo>
                <a:cubicBezTo>
                  <a:pt x="438501" y="372824"/>
                  <a:pt x="444350" y="385430"/>
                  <a:pt x="444350" y="398500"/>
                </a:cubicBezTo>
                <a:lnTo>
                  <a:pt x="444350" y="461067"/>
                </a:lnTo>
                <a:lnTo>
                  <a:pt x="388365" y="461067"/>
                </a:lnTo>
                <a:lnTo>
                  <a:pt x="388365" y="448554"/>
                </a:lnTo>
                <a:cubicBezTo>
                  <a:pt x="388365" y="436596"/>
                  <a:pt x="378709" y="426956"/>
                  <a:pt x="366733" y="426956"/>
                </a:cubicBezTo>
                <a:lnTo>
                  <a:pt x="356056" y="426956"/>
                </a:lnTo>
                <a:cubicBezTo>
                  <a:pt x="343522" y="378200"/>
                  <a:pt x="304899" y="339640"/>
                  <a:pt x="256156" y="327219"/>
                </a:cubicBezTo>
                <a:lnTo>
                  <a:pt x="256156" y="316560"/>
                </a:lnTo>
                <a:cubicBezTo>
                  <a:pt x="256156" y="304602"/>
                  <a:pt x="246500" y="294962"/>
                  <a:pt x="234523" y="294962"/>
                </a:cubicBezTo>
                <a:lnTo>
                  <a:pt x="209734" y="294962"/>
                </a:lnTo>
                <a:cubicBezTo>
                  <a:pt x="197757" y="294962"/>
                  <a:pt x="188101" y="304602"/>
                  <a:pt x="188101" y="316560"/>
                </a:cubicBezTo>
                <a:lnTo>
                  <a:pt x="188101" y="327219"/>
                </a:lnTo>
                <a:cubicBezTo>
                  <a:pt x="139266" y="339547"/>
                  <a:pt x="100643" y="378200"/>
                  <a:pt x="88202" y="426956"/>
                </a:cubicBezTo>
                <a:lnTo>
                  <a:pt x="77525" y="426956"/>
                </a:lnTo>
                <a:cubicBezTo>
                  <a:pt x="65548" y="426956"/>
                  <a:pt x="55892" y="436596"/>
                  <a:pt x="55892" y="448554"/>
                </a:cubicBezTo>
                <a:lnTo>
                  <a:pt x="55985" y="448554"/>
                </a:lnTo>
                <a:lnTo>
                  <a:pt x="55985" y="461067"/>
                </a:lnTo>
                <a:lnTo>
                  <a:pt x="0" y="461067"/>
                </a:lnTo>
                <a:lnTo>
                  <a:pt x="0" y="398500"/>
                </a:lnTo>
                <a:cubicBezTo>
                  <a:pt x="0" y="385430"/>
                  <a:pt x="5849" y="372824"/>
                  <a:pt x="15969" y="364482"/>
                </a:cubicBezTo>
                <a:cubicBezTo>
                  <a:pt x="72697" y="318043"/>
                  <a:pt x="133881" y="287176"/>
                  <a:pt x="146229" y="281059"/>
                </a:cubicBezTo>
                <a:cubicBezTo>
                  <a:pt x="147621" y="280502"/>
                  <a:pt x="148457" y="279112"/>
                  <a:pt x="148457" y="277536"/>
                </a:cubicBezTo>
                <a:lnTo>
                  <a:pt x="148457" y="234527"/>
                </a:lnTo>
                <a:cubicBezTo>
                  <a:pt x="141772" y="223033"/>
                  <a:pt x="137594" y="210983"/>
                  <a:pt x="135830" y="200046"/>
                </a:cubicBezTo>
                <a:cubicBezTo>
                  <a:pt x="131002" y="199675"/>
                  <a:pt x="124596" y="192816"/>
                  <a:pt x="117726" y="168716"/>
                </a:cubicBezTo>
                <a:cubicBezTo>
                  <a:pt x="109091" y="138220"/>
                  <a:pt x="116890" y="131824"/>
                  <a:pt x="124782" y="131546"/>
                </a:cubicBezTo>
                <a:cubicBezTo>
                  <a:pt x="124039" y="128951"/>
                  <a:pt x="123482" y="126263"/>
                  <a:pt x="122925" y="123667"/>
                </a:cubicBezTo>
                <a:cubicBezTo>
                  <a:pt x="119861" y="108188"/>
                  <a:pt x="119118" y="93820"/>
                  <a:pt x="122739" y="80102"/>
                </a:cubicBezTo>
                <a:cubicBezTo>
                  <a:pt x="127010" y="61749"/>
                  <a:pt x="137037" y="46918"/>
                  <a:pt x="148179" y="35517"/>
                </a:cubicBezTo>
                <a:cubicBezTo>
                  <a:pt x="155235" y="28102"/>
                  <a:pt x="163219" y="21428"/>
                  <a:pt x="171761" y="16144"/>
                </a:cubicBezTo>
                <a:cubicBezTo>
                  <a:pt x="178631" y="11324"/>
                  <a:pt x="186337" y="7246"/>
                  <a:pt x="194600" y="4372"/>
                </a:cubicBezTo>
                <a:cubicBezTo>
                  <a:pt x="201192" y="2148"/>
                  <a:pt x="208156" y="757"/>
                  <a:pt x="215397" y="3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矩形: 圆角 16">
            <a:extLst>
              <a:ext uri="{FF2B5EF4-FFF2-40B4-BE49-F238E27FC236}">
                <a16:creationId xmlns:a16="http://schemas.microsoft.com/office/drawing/2014/main" id="{7238937C-F9EC-4D58-8A7F-701888B2A4B7}"/>
              </a:ext>
            </a:extLst>
          </p:cNvPr>
          <p:cNvSpPr/>
          <p:nvPr/>
        </p:nvSpPr>
        <p:spPr>
          <a:xfrm>
            <a:off x="709604" y="1500450"/>
            <a:ext cx="1804970" cy="50722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rmAutofit/>
          </a:bodyPr>
          <a:lstStyle/>
          <a:p>
            <a:pPr algn="ctr"/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5298BE0C-0A3F-49A7-A44F-ACE3D7F901C8}"/>
              </a:ext>
            </a:extLst>
          </p:cNvPr>
          <p:cNvSpPr/>
          <p:nvPr/>
        </p:nvSpPr>
        <p:spPr>
          <a:xfrm>
            <a:off x="2959892" y="1500450"/>
            <a:ext cx="1804970" cy="50722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rmAutofit/>
          </a:bodyPr>
          <a:lstStyle/>
          <a:p>
            <a:pPr algn="ctr"/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7D237553-0ACC-49DC-AB22-01BD6EA83338}"/>
              </a:ext>
            </a:extLst>
          </p:cNvPr>
          <p:cNvSpPr/>
          <p:nvPr/>
        </p:nvSpPr>
        <p:spPr>
          <a:xfrm>
            <a:off x="5210180" y="1500450"/>
            <a:ext cx="1804970" cy="50722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rmAutofit/>
          </a:bodyPr>
          <a:lstStyle/>
          <a:p>
            <a:pPr algn="ctr"/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矩形: 圆角 19">
            <a:extLst>
              <a:ext uri="{FF2B5EF4-FFF2-40B4-BE49-F238E27FC236}">
                <a16:creationId xmlns:a16="http://schemas.microsoft.com/office/drawing/2014/main" id="{FD0117AF-3470-45CB-820D-6F7BDF06E956}"/>
              </a:ext>
            </a:extLst>
          </p:cNvPr>
          <p:cNvSpPr/>
          <p:nvPr/>
        </p:nvSpPr>
        <p:spPr>
          <a:xfrm>
            <a:off x="7460467" y="1500450"/>
            <a:ext cx="1804970" cy="50722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rmAutofit/>
          </a:bodyPr>
          <a:lstStyle/>
          <a:p>
            <a:pPr algn="ctr"/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矩形: 圆角 20">
            <a:extLst>
              <a:ext uri="{FF2B5EF4-FFF2-40B4-BE49-F238E27FC236}">
                <a16:creationId xmlns:a16="http://schemas.microsoft.com/office/drawing/2014/main" id="{8ABCAD58-BB07-457E-B22B-FFC7B0A84FF8}"/>
              </a:ext>
            </a:extLst>
          </p:cNvPr>
          <p:cNvSpPr/>
          <p:nvPr/>
        </p:nvSpPr>
        <p:spPr>
          <a:xfrm>
            <a:off x="9710756" y="1500450"/>
            <a:ext cx="1804970" cy="50722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rmAutofit/>
          </a:bodyPr>
          <a:lstStyle/>
          <a:p>
            <a:pPr algn="ctr"/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6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0868D278-5D45-4EAB-A6D2-A485DE01698B}"/>
              </a:ext>
            </a:extLst>
          </p:cNvPr>
          <p:cNvSpPr txBox="1"/>
          <p:nvPr/>
        </p:nvSpPr>
        <p:spPr bwMode="auto">
          <a:xfrm>
            <a:off x="702061" y="3229649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54829D28-E859-446B-99A9-E29C40D7C748}"/>
              </a:ext>
            </a:extLst>
          </p:cNvPr>
          <p:cNvSpPr txBox="1"/>
          <p:nvPr/>
        </p:nvSpPr>
        <p:spPr bwMode="auto">
          <a:xfrm>
            <a:off x="2946662" y="3229649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D967DDFA-B0CE-4852-A404-9B187A8022BB}"/>
              </a:ext>
            </a:extLst>
          </p:cNvPr>
          <p:cNvSpPr txBox="1"/>
          <p:nvPr/>
        </p:nvSpPr>
        <p:spPr bwMode="auto">
          <a:xfrm>
            <a:off x="5191263" y="3229649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3FD1BD8C-88BE-43D8-9D6E-A808AE42B4F9}"/>
              </a:ext>
            </a:extLst>
          </p:cNvPr>
          <p:cNvSpPr txBox="1"/>
          <p:nvPr/>
        </p:nvSpPr>
        <p:spPr bwMode="auto">
          <a:xfrm>
            <a:off x="7435864" y="3229649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DA6BBE38-F191-4C46-ADD7-5E1CC4D3C182}"/>
              </a:ext>
            </a:extLst>
          </p:cNvPr>
          <p:cNvSpPr txBox="1"/>
          <p:nvPr/>
        </p:nvSpPr>
        <p:spPr bwMode="auto">
          <a:xfrm>
            <a:off x="9680464" y="3229649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86B29DB3-D558-436C-8DF4-EE22AE65DA39}"/>
              </a:ext>
            </a:extLst>
          </p:cNvPr>
          <p:cNvSpPr txBox="1"/>
          <p:nvPr/>
        </p:nvSpPr>
        <p:spPr bwMode="auto">
          <a:xfrm>
            <a:off x="702061" y="4486116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F0AFD6AC-A4DB-45F1-82A1-C6B51E05570F}"/>
              </a:ext>
            </a:extLst>
          </p:cNvPr>
          <p:cNvSpPr txBox="1"/>
          <p:nvPr/>
        </p:nvSpPr>
        <p:spPr bwMode="auto">
          <a:xfrm>
            <a:off x="5191263" y="4486116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728BA83-BEB5-48A9-9CF6-1654F9A8F787}"/>
              </a:ext>
            </a:extLst>
          </p:cNvPr>
          <p:cNvSpPr txBox="1"/>
          <p:nvPr/>
        </p:nvSpPr>
        <p:spPr bwMode="auto">
          <a:xfrm>
            <a:off x="9680464" y="4486116"/>
            <a:ext cx="1804970" cy="9634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45720" rIns="91440" bIns="4572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r>
              <a:rPr lang="en-US" altLang="zh-CN" sz="1100" dirty="0">
                <a:cs typeface="+mn-ea"/>
                <a:sym typeface="+mn-lt"/>
              </a:rPr>
              <a:t>. </a:t>
            </a:r>
          </a:p>
          <a:p>
            <a:pPr algn="ctr">
              <a:lnSpc>
                <a:spcPct val="170000"/>
              </a:lnSpc>
              <a:defRPr/>
            </a:pPr>
            <a:r>
              <a:rPr lang="en-US" altLang="zh-CN" sz="1100" dirty="0">
                <a:cs typeface="+mn-ea"/>
                <a:sym typeface="+mn-lt"/>
              </a:rPr>
              <a:t>… …</a:t>
            </a:r>
          </a:p>
        </p:txBody>
      </p:sp>
    </p:spTree>
    <p:extLst>
      <p:ext uri="{BB962C8B-B14F-4D97-AF65-F5344CB8AC3E}">
        <p14:creationId xmlns:p14="http://schemas.microsoft.com/office/powerpoint/2010/main" val="127993308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sz="4400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673100" y="2244999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病学原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673100" y="2717802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此次疫情的临床特点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73100" y="3190605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病例定义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673100" y="3663408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病例的发现与报告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673100" y="4136211"/>
            <a:ext cx="10845800" cy="3744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cs typeface="+mn-ea"/>
                <a:sym typeface="+mn-lt"/>
              </a:rPr>
              <a:t>鉴别诊断</a:t>
            </a:r>
            <a:endParaRPr lang="en-US" altLang="zh-CN" sz="1400" b="1" dirty="0"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73100" y="4609014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治疗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73100" y="5081817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转运原则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73100" y="5554618"/>
            <a:ext cx="10845800" cy="37446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3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出院标准</a:t>
            </a:r>
            <a:endParaRPr lang="en-US" altLang="zh-CN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CBCE448-A746-45FC-ABE2-27B64D489326}"/>
              </a:ext>
            </a:extLst>
          </p:cNvPr>
          <p:cNvSpPr txBox="1"/>
          <p:nvPr/>
        </p:nvSpPr>
        <p:spPr bwMode="auto">
          <a:xfrm>
            <a:off x="4875153" y="1214166"/>
            <a:ext cx="244169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3200" b="1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CON</a:t>
            </a:r>
            <a:r>
              <a:rPr lang="en-US" altLang="zh-CN" sz="100" b="1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3200" b="1">
                <a:solidFill>
                  <a:schemeClr val="bg1">
                    <a:lumMod val="50000"/>
                  </a:schemeClr>
                </a:solidFill>
                <a:cs typeface="+mn-ea"/>
                <a:sym typeface="+mn-lt"/>
              </a:rPr>
              <a:t>TENTS</a:t>
            </a:r>
            <a:endParaRPr lang="en-US" altLang="zh-CN" sz="3200" b="1" dirty="0">
              <a:solidFill>
                <a:schemeClr val="bg1">
                  <a:lumMod val="50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4915165" y="1798941"/>
            <a:ext cx="2361670" cy="0"/>
          </a:xfrm>
          <a:prstGeom prst="line">
            <a:avLst/>
          </a:prstGeom>
          <a:ln w="2222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40516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学原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学原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095999" y="2783851"/>
            <a:ext cx="0" cy="887415"/>
          </a:xfrm>
          <a:prstGeom prst="line">
            <a:avLst/>
          </a:pr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</p:cxn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195643AF-6C46-7D40-B0FE-CAD90CD83AE5}"/>
              </a:ext>
            </a:extLst>
          </p:cNvPr>
          <p:cNvSpPr/>
          <p:nvPr/>
        </p:nvSpPr>
        <p:spPr bwMode="auto">
          <a:xfrm>
            <a:off x="1827446" y="2783851"/>
            <a:ext cx="4317208" cy="889794"/>
          </a:xfrm>
          <a:custGeom>
            <a:avLst/>
            <a:gdLst>
              <a:gd name="T0" fmla="*/ 4317006 w 21567"/>
              <a:gd name="T1" fmla="*/ 902572 h 21446"/>
              <a:gd name="T2" fmla="*/ 4317006 w 21567"/>
              <a:gd name="T3" fmla="*/ 902572 h 21446"/>
              <a:gd name="T4" fmla="*/ 4317006 w 21567"/>
              <a:gd name="T5" fmla="*/ 902572 h 21446"/>
              <a:gd name="T6" fmla="*/ 4317006 w 21567"/>
              <a:gd name="T7" fmla="*/ 902572 h 214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67" h="21446">
                <a:moveTo>
                  <a:pt x="11" y="21446"/>
                </a:moveTo>
                <a:lnTo>
                  <a:pt x="11" y="4713"/>
                </a:lnTo>
                <a:cubicBezTo>
                  <a:pt x="-33" y="3396"/>
                  <a:pt x="59" y="2058"/>
                  <a:pt x="259" y="1133"/>
                </a:cubicBezTo>
                <a:cubicBezTo>
                  <a:pt x="450" y="246"/>
                  <a:pt x="716" y="-154"/>
                  <a:pt x="977" y="53"/>
                </a:cubicBezTo>
                <a:lnTo>
                  <a:pt x="21567" y="53"/>
                </a:lnTo>
              </a:path>
            </a:pathLst>
          </a:cu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4127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D002DAD-0B9D-7D40-8297-3BCC1D4EC790}"/>
              </a:ext>
            </a:extLst>
          </p:cNvPr>
          <p:cNvSpPr/>
          <p:nvPr/>
        </p:nvSpPr>
        <p:spPr bwMode="auto">
          <a:xfrm>
            <a:off x="6047346" y="2783851"/>
            <a:ext cx="4317208" cy="889794"/>
          </a:xfrm>
          <a:custGeom>
            <a:avLst/>
            <a:gdLst>
              <a:gd name="T0" fmla="*/ 4317006 w 21567"/>
              <a:gd name="T1" fmla="*/ 902572 h 21446"/>
              <a:gd name="T2" fmla="*/ 4317006 w 21567"/>
              <a:gd name="T3" fmla="*/ 902572 h 21446"/>
              <a:gd name="T4" fmla="*/ 4317006 w 21567"/>
              <a:gd name="T5" fmla="*/ 902572 h 21446"/>
              <a:gd name="T6" fmla="*/ 4317006 w 21567"/>
              <a:gd name="T7" fmla="*/ 902572 h 2144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567" h="21446">
                <a:moveTo>
                  <a:pt x="21556" y="21446"/>
                </a:moveTo>
                <a:lnTo>
                  <a:pt x="21556" y="4713"/>
                </a:lnTo>
                <a:cubicBezTo>
                  <a:pt x="21600" y="3396"/>
                  <a:pt x="21508" y="2058"/>
                  <a:pt x="21308" y="1133"/>
                </a:cubicBezTo>
                <a:cubicBezTo>
                  <a:pt x="21117" y="246"/>
                  <a:pt x="20851" y="-154"/>
                  <a:pt x="20590" y="53"/>
                </a:cubicBezTo>
                <a:lnTo>
                  <a:pt x="0" y="53"/>
                </a:lnTo>
              </a:path>
            </a:pathLst>
          </a:cu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4127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F47C305A-1222-A947-84EF-0881D8C7B146}"/>
              </a:ext>
            </a:extLst>
          </p:cNvPr>
          <p:cNvSpPr/>
          <p:nvPr/>
        </p:nvSpPr>
        <p:spPr bwMode="auto">
          <a:xfrm rot="5400000">
            <a:off x="1716881" y="3372419"/>
            <a:ext cx="234950" cy="832644"/>
          </a:xfrm>
          <a:custGeom>
            <a:avLst/>
            <a:gdLst>
              <a:gd name="T0" fmla="*/ 234923 w 21467"/>
              <a:gd name="T1" fmla="*/ 839899 h 21506"/>
              <a:gd name="T2" fmla="*/ 234923 w 21467"/>
              <a:gd name="T3" fmla="*/ 839899 h 21506"/>
              <a:gd name="T4" fmla="*/ 234923 w 21467"/>
              <a:gd name="T5" fmla="*/ 839899 h 21506"/>
              <a:gd name="T6" fmla="*/ 234923 w 21467"/>
              <a:gd name="T7" fmla="*/ 839899 h 2150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467" h="21506">
                <a:moveTo>
                  <a:pt x="20549" y="21506"/>
                </a:moveTo>
                <a:lnTo>
                  <a:pt x="11083" y="21506"/>
                </a:lnTo>
                <a:cubicBezTo>
                  <a:pt x="8114" y="21393"/>
                  <a:pt x="5380" y="20988"/>
                  <a:pt x="3360" y="20363"/>
                </a:cubicBezTo>
                <a:cubicBezTo>
                  <a:pt x="1071" y="19655"/>
                  <a:pt x="-133" y="18720"/>
                  <a:pt x="11" y="17762"/>
                </a:cubicBezTo>
                <a:lnTo>
                  <a:pt x="11" y="3540"/>
                </a:lnTo>
                <a:cubicBezTo>
                  <a:pt x="58" y="2557"/>
                  <a:pt x="1530" y="1623"/>
                  <a:pt x="4083" y="956"/>
                </a:cubicBezTo>
                <a:cubicBezTo>
                  <a:pt x="6797" y="247"/>
                  <a:pt x="10470" y="-94"/>
                  <a:pt x="14144" y="23"/>
                </a:cubicBezTo>
                <a:lnTo>
                  <a:pt x="21467" y="23"/>
                </a:lnTo>
              </a:path>
            </a:pathLst>
          </a:cu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4127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+mn-ea"/>
              <a:sym typeface="+mn-lt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C822A173-966A-F047-B3DF-8F6A391BA32D}"/>
              </a:ext>
            </a:extLst>
          </p:cNvPr>
          <p:cNvSpPr/>
          <p:nvPr/>
        </p:nvSpPr>
        <p:spPr bwMode="auto">
          <a:xfrm>
            <a:off x="673100" y="2990805"/>
            <a:ext cx="2322513" cy="52885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Text </a:t>
            </a:r>
            <a:r>
              <a:rPr lang="en-US" altLang="zh-CN" sz="100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here</a:t>
            </a:r>
            <a:endParaRPr lang="en-US" altLang="zh-CN" sz="1600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E55CE6D2-8176-4338-BC5C-14F9802D5FB5}"/>
              </a:ext>
            </a:extLst>
          </p:cNvPr>
          <p:cNvSpPr/>
          <p:nvPr/>
        </p:nvSpPr>
        <p:spPr bwMode="auto">
          <a:xfrm>
            <a:off x="797096" y="3906215"/>
            <a:ext cx="2074521" cy="2154237"/>
          </a:xfrm>
          <a:prstGeom prst="roundRect">
            <a:avLst>
              <a:gd name="adj" fmla="val 46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</a:t>
            </a:r>
            <a:r>
              <a:rPr lang="en-US" altLang="zh-CN" sz="12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ption </a:t>
            </a:r>
            <a:r>
              <a:rPr lang="en-US" altLang="zh-CN" sz="12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endParaRPr lang="en-US" altLang="zh-CN" sz="12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F47C305A-1222-A947-84EF-0881D8C7B146}"/>
              </a:ext>
            </a:extLst>
          </p:cNvPr>
          <p:cNvSpPr/>
          <p:nvPr/>
        </p:nvSpPr>
        <p:spPr bwMode="auto">
          <a:xfrm rot="5400000">
            <a:off x="5978524" y="3372419"/>
            <a:ext cx="234950" cy="832644"/>
          </a:xfrm>
          <a:custGeom>
            <a:avLst/>
            <a:gdLst>
              <a:gd name="T0" fmla="*/ 234923 w 21467"/>
              <a:gd name="T1" fmla="*/ 839899 h 21506"/>
              <a:gd name="T2" fmla="*/ 234923 w 21467"/>
              <a:gd name="T3" fmla="*/ 839899 h 21506"/>
              <a:gd name="T4" fmla="*/ 234923 w 21467"/>
              <a:gd name="T5" fmla="*/ 839899 h 21506"/>
              <a:gd name="T6" fmla="*/ 234923 w 21467"/>
              <a:gd name="T7" fmla="*/ 839899 h 2150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467" h="21506">
                <a:moveTo>
                  <a:pt x="20549" y="21506"/>
                </a:moveTo>
                <a:lnTo>
                  <a:pt x="11083" y="21506"/>
                </a:lnTo>
                <a:cubicBezTo>
                  <a:pt x="8114" y="21393"/>
                  <a:pt x="5380" y="20988"/>
                  <a:pt x="3360" y="20363"/>
                </a:cubicBezTo>
                <a:cubicBezTo>
                  <a:pt x="1071" y="19655"/>
                  <a:pt x="-133" y="18720"/>
                  <a:pt x="11" y="17762"/>
                </a:cubicBezTo>
                <a:lnTo>
                  <a:pt x="11" y="3540"/>
                </a:lnTo>
                <a:cubicBezTo>
                  <a:pt x="58" y="2557"/>
                  <a:pt x="1530" y="1623"/>
                  <a:pt x="4083" y="956"/>
                </a:cubicBezTo>
                <a:cubicBezTo>
                  <a:pt x="6797" y="247"/>
                  <a:pt x="10470" y="-94"/>
                  <a:pt x="14144" y="23"/>
                </a:cubicBezTo>
                <a:lnTo>
                  <a:pt x="21467" y="23"/>
                </a:lnTo>
              </a:path>
            </a:pathLst>
          </a:cu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4127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+mn-ea"/>
              <a:sym typeface="+mn-lt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822A173-966A-F047-B3DF-8F6A391BA32D}"/>
              </a:ext>
            </a:extLst>
          </p:cNvPr>
          <p:cNvSpPr/>
          <p:nvPr/>
        </p:nvSpPr>
        <p:spPr bwMode="auto">
          <a:xfrm>
            <a:off x="4934743" y="2990805"/>
            <a:ext cx="2322513" cy="5288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9050"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Text </a:t>
            </a:r>
            <a:r>
              <a:rPr lang="en-US" altLang="zh-CN" sz="100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here</a:t>
            </a:r>
            <a:endParaRPr lang="en-US" altLang="zh-CN" sz="1600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47C305A-1222-A947-84EF-0881D8C7B146}"/>
              </a:ext>
            </a:extLst>
          </p:cNvPr>
          <p:cNvSpPr/>
          <p:nvPr/>
        </p:nvSpPr>
        <p:spPr bwMode="auto">
          <a:xfrm rot="5400000">
            <a:off x="10240168" y="3372419"/>
            <a:ext cx="234950" cy="832644"/>
          </a:xfrm>
          <a:custGeom>
            <a:avLst/>
            <a:gdLst>
              <a:gd name="T0" fmla="*/ 234923 w 21467"/>
              <a:gd name="T1" fmla="*/ 839899 h 21506"/>
              <a:gd name="T2" fmla="*/ 234923 w 21467"/>
              <a:gd name="T3" fmla="*/ 839899 h 21506"/>
              <a:gd name="T4" fmla="*/ 234923 w 21467"/>
              <a:gd name="T5" fmla="*/ 839899 h 21506"/>
              <a:gd name="T6" fmla="*/ 234923 w 21467"/>
              <a:gd name="T7" fmla="*/ 839899 h 2150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467" h="21506">
                <a:moveTo>
                  <a:pt x="20549" y="21506"/>
                </a:moveTo>
                <a:lnTo>
                  <a:pt x="11083" y="21506"/>
                </a:lnTo>
                <a:cubicBezTo>
                  <a:pt x="8114" y="21393"/>
                  <a:pt x="5380" y="20988"/>
                  <a:pt x="3360" y="20363"/>
                </a:cubicBezTo>
                <a:cubicBezTo>
                  <a:pt x="1071" y="19655"/>
                  <a:pt x="-133" y="18720"/>
                  <a:pt x="11" y="17762"/>
                </a:cubicBezTo>
                <a:lnTo>
                  <a:pt x="11" y="3540"/>
                </a:lnTo>
                <a:cubicBezTo>
                  <a:pt x="58" y="2557"/>
                  <a:pt x="1530" y="1623"/>
                  <a:pt x="4083" y="956"/>
                </a:cubicBezTo>
                <a:cubicBezTo>
                  <a:pt x="6797" y="247"/>
                  <a:pt x="10470" y="-94"/>
                  <a:pt x="14144" y="23"/>
                </a:cubicBezTo>
                <a:lnTo>
                  <a:pt x="21467" y="23"/>
                </a:lnTo>
              </a:path>
            </a:pathLst>
          </a:custGeom>
          <a:noFill/>
          <a:ln w="19050" cap="flat" cmpd="sng">
            <a:solidFill>
              <a:schemeClr val="bg1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4127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cs typeface="+mn-ea"/>
              <a:sym typeface="+mn-lt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C822A173-966A-F047-B3DF-8F6A391BA32D}"/>
              </a:ext>
            </a:extLst>
          </p:cNvPr>
          <p:cNvSpPr/>
          <p:nvPr/>
        </p:nvSpPr>
        <p:spPr bwMode="auto">
          <a:xfrm>
            <a:off x="9196387" y="2990805"/>
            <a:ext cx="2322513" cy="52885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Text </a:t>
            </a:r>
            <a:r>
              <a:rPr lang="en-US" altLang="zh-CN" sz="100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600" i="1">
                <a:solidFill>
                  <a:schemeClr val="bg1"/>
                </a:solidFill>
                <a:cs typeface="+mn-ea"/>
                <a:sym typeface="+mn-lt"/>
              </a:rPr>
              <a:t>here</a:t>
            </a:r>
            <a:endParaRPr lang="en-US" altLang="zh-CN" sz="1600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23C7B27E-BA81-45BD-9D1A-90796134D0AB}"/>
              </a:ext>
            </a:extLst>
          </p:cNvPr>
          <p:cNvSpPr/>
          <p:nvPr/>
        </p:nvSpPr>
        <p:spPr bwMode="auto">
          <a:xfrm>
            <a:off x="4208110" y="1959777"/>
            <a:ext cx="3775780" cy="5915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</a:t>
            </a:r>
            <a:r>
              <a:rPr lang="en-US" altLang="zh-CN" sz="1400">
                <a:cs typeface="+mn-ea"/>
                <a:sym typeface="+mn-lt"/>
              </a:rPr>
              <a:t>the only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400">
                <a:cs typeface="+mn-ea"/>
                <a:sym typeface="+mn-lt"/>
              </a:rPr>
              <a:t> </a:t>
            </a:r>
            <a:r>
              <a:rPr lang="en-US" altLang="zh-CN" sz="1400" dirty="0">
                <a:cs typeface="+mn-ea"/>
                <a:sym typeface="+mn-lt"/>
              </a:rPr>
              <a:t>option to retain text……</a:t>
            </a:r>
          </a:p>
        </p:txBody>
      </p:sp>
      <p:sp>
        <p:nvSpPr>
          <p:cNvPr id="17" name="任意多边形: 形状 16"/>
          <p:cNvSpPr/>
          <p:nvPr/>
        </p:nvSpPr>
        <p:spPr>
          <a:xfrm>
            <a:off x="5782147" y="1216647"/>
            <a:ext cx="627706" cy="715928"/>
          </a:xfrm>
          <a:custGeom>
            <a:avLst/>
            <a:gdLst>
              <a:gd name="connsiteX0" fmla="*/ 358559 w 530968"/>
              <a:gd name="connsiteY0" fmla="*/ 360518 h 605592"/>
              <a:gd name="connsiteX1" fmla="*/ 462357 w 530968"/>
              <a:gd name="connsiteY1" fmla="*/ 410571 h 605592"/>
              <a:gd name="connsiteX2" fmla="*/ 530968 w 530968"/>
              <a:gd name="connsiteY2" fmla="*/ 605592 h 605592"/>
              <a:gd name="connsiteX3" fmla="*/ 0 w 530968"/>
              <a:gd name="connsiteY3" fmla="*/ 605592 h 605592"/>
              <a:gd name="connsiteX4" fmla="*/ 68518 w 530968"/>
              <a:gd name="connsiteY4" fmla="*/ 410756 h 605592"/>
              <a:gd name="connsiteX5" fmla="*/ 172316 w 530968"/>
              <a:gd name="connsiteY5" fmla="*/ 360703 h 605592"/>
              <a:gd name="connsiteX6" fmla="*/ 222358 w 530968"/>
              <a:gd name="connsiteY6" fmla="*/ 518648 h 605592"/>
              <a:gd name="connsiteX7" fmla="*/ 229136 w 530968"/>
              <a:gd name="connsiteY7" fmla="*/ 539967 h 605592"/>
              <a:gd name="connsiteX8" fmla="*/ 251790 w 530968"/>
              <a:gd name="connsiteY8" fmla="*/ 476474 h 605592"/>
              <a:gd name="connsiteX9" fmla="*/ 265345 w 530968"/>
              <a:gd name="connsiteY9" fmla="*/ 401209 h 605592"/>
              <a:gd name="connsiteX10" fmla="*/ 265438 w 530968"/>
              <a:gd name="connsiteY10" fmla="*/ 401209 h 605592"/>
              <a:gd name="connsiteX11" fmla="*/ 265530 w 530968"/>
              <a:gd name="connsiteY11" fmla="*/ 401209 h 605592"/>
              <a:gd name="connsiteX12" fmla="*/ 265716 w 530968"/>
              <a:gd name="connsiteY12" fmla="*/ 401209 h 605592"/>
              <a:gd name="connsiteX13" fmla="*/ 265809 w 530968"/>
              <a:gd name="connsiteY13" fmla="*/ 401209 h 605592"/>
              <a:gd name="connsiteX14" fmla="*/ 279271 w 530968"/>
              <a:gd name="connsiteY14" fmla="*/ 476474 h 605592"/>
              <a:gd name="connsiteX15" fmla="*/ 301739 w 530968"/>
              <a:gd name="connsiteY15" fmla="*/ 539874 h 605592"/>
              <a:gd name="connsiteX16" fmla="*/ 308517 w 530968"/>
              <a:gd name="connsiteY16" fmla="*/ 518463 h 605592"/>
              <a:gd name="connsiteX17" fmla="*/ 327742 w 530968"/>
              <a:gd name="connsiteY17" fmla="*/ 231466 h 605592"/>
              <a:gd name="connsiteX18" fmla="*/ 305833 w 530968"/>
              <a:gd name="connsiteY18" fmla="*/ 275591 h 605592"/>
              <a:gd name="connsiteX19" fmla="*/ 354572 w 530968"/>
              <a:gd name="connsiteY19" fmla="*/ 231466 h 605592"/>
              <a:gd name="connsiteX20" fmla="*/ 275754 w 530968"/>
              <a:gd name="connsiteY20" fmla="*/ 231374 h 605592"/>
              <a:gd name="connsiteX21" fmla="*/ 275754 w 530968"/>
              <a:gd name="connsiteY21" fmla="*/ 279577 h 605592"/>
              <a:gd name="connsiteX22" fmla="*/ 306204 w 530968"/>
              <a:gd name="connsiteY22" fmla="*/ 231374 h 605592"/>
              <a:gd name="connsiteX23" fmla="*/ 224880 w 530968"/>
              <a:gd name="connsiteY23" fmla="*/ 231374 h 605592"/>
              <a:gd name="connsiteX24" fmla="*/ 255144 w 530968"/>
              <a:gd name="connsiteY24" fmla="*/ 279484 h 605592"/>
              <a:gd name="connsiteX25" fmla="*/ 255144 w 530968"/>
              <a:gd name="connsiteY25" fmla="*/ 231374 h 605592"/>
              <a:gd name="connsiteX26" fmla="*/ 176233 w 530968"/>
              <a:gd name="connsiteY26" fmla="*/ 231374 h 605592"/>
              <a:gd name="connsiteX27" fmla="*/ 224972 w 530968"/>
              <a:gd name="connsiteY27" fmla="*/ 275498 h 605592"/>
              <a:gd name="connsiteX28" fmla="*/ 203063 w 530968"/>
              <a:gd name="connsiteY28" fmla="*/ 231374 h 605592"/>
              <a:gd name="connsiteX29" fmla="*/ 332569 w 530968"/>
              <a:gd name="connsiteY29" fmla="*/ 153137 h 605592"/>
              <a:gd name="connsiteX30" fmla="*/ 334890 w 530968"/>
              <a:gd name="connsiteY30" fmla="*/ 182059 h 605592"/>
              <a:gd name="connsiteX31" fmla="*/ 332569 w 530968"/>
              <a:gd name="connsiteY31" fmla="*/ 210980 h 605592"/>
              <a:gd name="connsiteX32" fmla="*/ 363205 w 530968"/>
              <a:gd name="connsiteY32" fmla="*/ 210980 h 605592"/>
              <a:gd name="connsiteX33" fmla="*/ 367476 w 530968"/>
              <a:gd name="connsiteY33" fmla="*/ 182059 h 605592"/>
              <a:gd name="connsiteX34" fmla="*/ 363205 w 530968"/>
              <a:gd name="connsiteY34" fmla="*/ 153137 h 605592"/>
              <a:gd name="connsiteX35" fmla="*/ 275754 w 530968"/>
              <a:gd name="connsiteY35" fmla="*/ 153137 h 605592"/>
              <a:gd name="connsiteX36" fmla="*/ 275754 w 530968"/>
              <a:gd name="connsiteY36" fmla="*/ 210980 h 605592"/>
              <a:gd name="connsiteX37" fmla="*/ 311774 w 530968"/>
              <a:gd name="connsiteY37" fmla="*/ 210980 h 605592"/>
              <a:gd name="connsiteX38" fmla="*/ 314466 w 530968"/>
              <a:gd name="connsiteY38" fmla="*/ 182059 h 605592"/>
              <a:gd name="connsiteX39" fmla="*/ 311774 w 530968"/>
              <a:gd name="connsiteY39" fmla="*/ 153137 h 605592"/>
              <a:gd name="connsiteX40" fmla="*/ 219124 w 530968"/>
              <a:gd name="connsiteY40" fmla="*/ 153137 h 605592"/>
              <a:gd name="connsiteX41" fmla="*/ 216431 w 530968"/>
              <a:gd name="connsiteY41" fmla="*/ 182059 h 605592"/>
              <a:gd name="connsiteX42" fmla="*/ 219124 w 530968"/>
              <a:gd name="connsiteY42" fmla="*/ 210980 h 605592"/>
              <a:gd name="connsiteX43" fmla="*/ 255144 w 530968"/>
              <a:gd name="connsiteY43" fmla="*/ 210980 h 605592"/>
              <a:gd name="connsiteX44" fmla="*/ 255144 w 530968"/>
              <a:gd name="connsiteY44" fmla="*/ 153137 h 605592"/>
              <a:gd name="connsiteX45" fmla="*/ 167693 w 530968"/>
              <a:gd name="connsiteY45" fmla="*/ 153137 h 605592"/>
              <a:gd name="connsiteX46" fmla="*/ 163422 w 530968"/>
              <a:gd name="connsiteY46" fmla="*/ 182059 h 605592"/>
              <a:gd name="connsiteX47" fmla="*/ 167693 w 530968"/>
              <a:gd name="connsiteY47" fmla="*/ 210980 h 605592"/>
              <a:gd name="connsiteX48" fmla="*/ 198328 w 530968"/>
              <a:gd name="connsiteY48" fmla="*/ 210980 h 605592"/>
              <a:gd name="connsiteX49" fmla="*/ 196008 w 530968"/>
              <a:gd name="connsiteY49" fmla="*/ 182059 h 605592"/>
              <a:gd name="connsiteX50" fmla="*/ 198328 w 530968"/>
              <a:gd name="connsiteY50" fmla="*/ 153137 h 605592"/>
              <a:gd name="connsiteX51" fmla="*/ 305925 w 530968"/>
              <a:gd name="connsiteY51" fmla="*/ 88619 h 605592"/>
              <a:gd name="connsiteX52" fmla="*/ 327835 w 530968"/>
              <a:gd name="connsiteY52" fmla="*/ 132743 h 605592"/>
              <a:gd name="connsiteX53" fmla="*/ 354664 w 530968"/>
              <a:gd name="connsiteY53" fmla="*/ 132743 h 605592"/>
              <a:gd name="connsiteX54" fmla="*/ 305925 w 530968"/>
              <a:gd name="connsiteY54" fmla="*/ 88619 h 605592"/>
              <a:gd name="connsiteX55" fmla="*/ 225065 w 530968"/>
              <a:gd name="connsiteY55" fmla="*/ 88619 h 605592"/>
              <a:gd name="connsiteX56" fmla="*/ 176326 w 530968"/>
              <a:gd name="connsiteY56" fmla="*/ 132743 h 605592"/>
              <a:gd name="connsiteX57" fmla="*/ 203156 w 530968"/>
              <a:gd name="connsiteY57" fmla="*/ 132743 h 605592"/>
              <a:gd name="connsiteX58" fmla="*/ 225065 w 530968"/>
              <a:gd name="connsiteY58" fmla="*/ 88619 h 605592"/>
              <a:gd name="connsiteX59" fmla="*/ 275754 w 530968"/>
              <a:gd name="connsiteY59" fmla="*/ 84633 h 605592"/>
              <a:gd name="connsiteX60" fmla="*/ 275754 w 530968"/>
              <a:gd name="connsiteY60" fmla="*/ 132743 h 605592"/>
              <a:gd name="connsiteX61" fmla="*/ 306018 w 530968"/>
              <a:gd name="connsiteY61" fmla="*/ 132743 h 605592"/>
              <a:gd name="connsiteX62" fmla="*/ 275754 w 530968"/>
              <a:gd name="connsiteY62" fmla="*/ 84633 h 605592"/>
              <a:gd name="connsiteX63" fmla="*/ 255144 w 530968"/>
              <a:gd name="connsiteY63" fmla="*/ 84540 h 605592"/>
              <a:gd name="connsiteX64" fmla="*/ 224694 w 530968"/>
              <a:gd name="connsiteY64" fmla="*/ 132743 h 605592"/>
              <a:gd name="connsiteX65" fmla="*/ 255144 w 530968"/>
              <a:gd name="connsiteY65" fmla="*/ 132743 h 605592"/>
              <a:gd name="connsiteX66" fmla="*/ 249017 w 530968"/>
              <a:gd name="connsiteY66" fmla="*/ 0 h 605592"/>
              <a:gd name="connsiteX67" fmla="*/ 281788 w 530968"/>
              <a:gd name="connsiteY67" fmla="*/ 0 h 605592"/>
              <a:gd name="connsiteX68" fmla="*/ 293764 w 530968"/>
              <a:gd name="connsiteY68" fmla="*/ 11958 h 605592"/>
              <a:gd name="connsiteX69" fmla="*/ 293764 w 530968"/>
              <a:gd name="connsiteY69" fmla="*/ 39211 h 605592"/>
              <a:gd name="connsiteX70" fmla="*/ 346495 w 530968"/>
              <a:gd name="connsiteY70" fmla="*/ 60902 h 605592"/>
              <a:gd name="connsiteX71" fmla="*/ 365805 w 530968"/>
              <a:gd name="connsiteY71" fmla="*/ 41621 h 605592"/>
              <a:gd name="connsiteX72" fmla="*/ 382887 w 530968"/>
              <a:gd name="connsiteY72" fmla="*/ 41621 h 605592"/>
              <a:gd name="connsiteX73" fmla="*/ 406096 w 530968"/>
              <a:gd name="connsiteY73" fmla="*/ 64796 h 605592"/>
              <a:gd name="connsiteX74" fmla="*/ 406096 w 530968"/>
              <a:gd name="connsiteY74" fmla="*/ 81852 h 605592"/>
              <a:gd name="connsiteX75" fmla="*/ 386786 w 530968"/>
              <a:gd name="connsiteY75" fmla="*/ 101133 h 605592"/>
              <a:gd name="connsiteX76" fmla="*/ 408509 w 530968"/>
              <a:gd name="connsiteY76" fmla="*/ 153786 h 605592"/>
              <a:gd name="connsiteX77" fmla="*/ 435803 w 530968"/>
              <a:gd name="connsiteY77" fmla="*/ 153786 h 605592"/>
              <a:gd name="connsiteX78" fmla="*/ 447779 w 530968"/>
              <a:gd name="connsiteY78" fmla="*/ 165744 h 605592"/>
              <a:gd name="connsiteX79" fmla="*/ 447779 w 530968"/>
              <a:gd name="connsiteY79" fmla="*/ 198466 h 605592"/>
              <a:gd name="connsiteX80" fmla="*/ 435803 w 530968"/>
              <a:gd name="connsiteY80" fmla="*/ 210517 h 605592"/>
              <a:gd name="connsiteX81" fmla="*/ 408509 w 530968"/>
              <a:gd name="connsiteY81" fmla="*/ 210517 h 605592"/>
              <a:gd name="connsiteX82" fmla="*/ 386786 w 530968"/>
              <a:gd name="connsiteY82" fmla="*/ 263169 h 605592"/>
              <a:gd name="connsiteX83" fmla="*/ 406096 w 530968"/>
              <a:gd name="connsiteY83" fmla="*/ 282265 h 605592"/>
              <a:gd name="connsiteX84" fmla="*/ 406096 w 530968"/>
              <a:gd name="connsiteY84" fmla="*/ 299321 h 605592"/>
              <a:gd name="connsiteX85" fmla="*/ 382887 w 530968"/>
              <a:gd name="connsiteY85" fmla="*/ 322496 h 605592"/>
              <a:gd name="connsiteX86" fmla="*/ 365805 w 530968"/>
              <a:gd name="connsiteY86" fmla="*/ 322496 h 605592"/>
              <a:gd name="connsiteX87" fmla="*/ 346495 w 530968"/>
              <a:gd name="connsiteY87" fmla="*/ 303215 h 605592"/>
              <a:gd name="connsiteX88" fmla="*/ 293764 w 530968"/>
              <a:gd name="connsiteY88" fmla="*/ 324906 h 605592"/>
              <a:gd name="connsiteX89" fmla="*/ 293764 w 530968"/>
              <a:gd name="connsiteY89" fmla="*/ 352159 h 605592"/>
              <a:gd name="connsiteX90" fmla="*/ 281788 w 530968"/>
              <a:gd name="connsiteY90" fmla="*/ 364117 h 605592"/>
              <a:gd name="connsiteX91" fmla="*/ 249017 w 530968"/>
              <a:gd name="connsiteY91" fmla="*/ 364117 h 605592"/>
              <a:gd name="connsiteX92" fmla="*/ 236948 w 530968"/>
              <a:gd name="connsiteY92" fmla="*/ 352159 h 605592"/>
              <a:gd name="connsiteX93" fmla="*/ 236948 w 530968"/>
              <a:gd name="connsiteY93" fmla="*/ 324906 h 605592"/>
              <a:gd name="connsiteX94" fmla="*/ 184217 w 530968"/>
              <a:gd name="connsiteY94" fmla="*/ 303215 h 605592"/>
              <a:gd name="connsiteX95" fmla="*/ 164907 w 530968"/>
              <a:gd name="connsiteY95" fmla="*/ 322496 h 605592"/>
              <a:gd name="connsiteX96" fmla="*/ 147826 w 530968"/>
              <a:gd name="connsiteY96" fmla="*/ 322496 h 605592"/>
              <a:gd name="connsiteX97" fmla="*/ 124709 w 530968"/>
              <a:gd name="connsiteY97" fmla="*/ 299321 h 605592"/>
              <a:gd name="connsiteX98" fmla="*/ 124709 w 530968"/>
              <a:gd name="connsiteY98" fmla="*/ 282265 h 605592"/>
              <a:gd name="connsiteX99" fmla="*/ 144019 w 530968"/>
              <a:gd name="connsiteY99" fmla="*/ 262984 h 605592"/>
              <a:gd name="connsiteX100" fmla="*/ 122203 w 530968"/>
              <a:gd name="connsiteY100" fmla="*/ 210331 h 605592"/>
              <a:gd name="connsiteX101" fmla="*/ 95002 w 530968"/>
              <a:gd name="connsiteY101" fmla="*/ 210331 h 605592"/>
              <a:gd name="connsiteX102" fmla="*/ 83026 w 530968"/>
              <a:gd name="connsiteY102" fmla="*/ 198373 h 605592"/>
              <a:gd name="connsiteX103" fmla="*/ 83026 w 530968"/>
              <a:gd name="connsiteY103" fmla="*/ 165651 h 605592"/>
              <a:gd name="connsiteX104" fmla="*/ 95002 w 530968"/>
              <a:gd name="connsiteY104" fmla="*/ 153600 h 605592"/>
              <a:gd name="connsiteX105" fmla="*/ 95002 w 530968"/>
              <a:gd name="connsiteY105" fmla="*/ 153786 h 605592"/>
              <a:gd name="connsiteX106" fmla="*/ 122389 w 530968"/>
              <a:gd name="connsiteY106" fmla="*/ 153786 h 605592"/>
              <a:gd name="connsiteX107" fmla="*/ 144112 w 530968"/>
              <a:gd name="connsiteY107" fmla="*/ 101133 h 605592"/>
              <a:gd name="connsiteX108" fmla="*/ 124709 w 530968"/>
              <a:gd name="connsiteY108" fmla="*/ 81852 h 605592"/>
              <a:gd name="connsiteX109" fmla="*/ 124709 w 530968"/>
              <a:gd name="connsiteY109" fmla="*/ 64796 h 605592"/>
              <a:gd name="connsiteX110" fmla="*/ 147826 w 530968"/>
              <a:gd name="connsiteY110" fmla="*/ 41621 h 605592"/>
              <a:gd name="connsiteX111" fmla="*/ 164907 w 530968"/>
              <a:gd name="connsiteY111" fmla="*/ 41621 h 605592"/>
              <a:gd name="connsiteX112" fmla="*/ 184217 w 530968"/>
              <a:gd name="connsiteY112" fmla="*/ 60902 h 605592"/>
              <a:gd name="connsiteX113" fmla="*/ 236948 w 530968"/>
              <a:gd name="connsiteY113" fmla="*/ 39211 h 605592"/>
              <a:gd name="connsiteX114" fmla="*/ 236948 w 530968"/>
              <a:gd name="connsiteY114" fmla="*/ 11958 h 605592"/>
              <a:gd name="connsiteX115" fmla="*/ 249017 w 530968"/>
              <a:gd name="connsiteY115" fmla="*/ 0 h 605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</a:cxnLst>
            <a:rect l="l" t="t" r="r" b="b"/>
            <a:pathLst>
              <a:path w="530968" h="605592">
                <a:moveTo>
                  <a:pt x="358559" y="360518"/>
                </a:moveTo>
                <a:cubicBezTo>
                  <a:pt x="358559" y="360518"/>
                  <a:pt x="397367" y="385915"/>
                  <a:pt x="462357" y="410571"/>
                </a:cubicBezTo>
                <a:cubicBezTo>
                  <a:pt x="533939" y="436524"/>
                  <a:pt x="529483" y="495383"/>
                  <a:pt x="530968" y="605592"/>
                </a:cubicBezTo>
                <a:lnTo>
                  <a:pt x="0" y="605592"/>
                </a:lnTo>
                <a:cubicBezTo>
                  <a:pt x="1392" y="495383"/>
                  <a:pt x="-3064" y="436710"/>
                  <a:pt x="68518" y="410756"/>
                </a:cubicBezTo>
                <a:cubicBezTo>
                  <a:pt x="133508" y="386008"/>
                  <a:pt x="172316" y="360703"/>
                  <a:pt x="172316" y="360703"/>
                </a:cubicBezTo>
                <a:lnTo>
                  <a:pt x="222358" y="518648"/>
                </a:lnTo>
                <a:lnTo>
                  <a:pt x="229136" y="539967"/>
                </a:lnTo>
                <a:lnTo>
                  <a:pt x="251790" y="476474"/>
                </a:lnTo>
                <a:cubicBezTo>
                  <a:pt x="200355" y="404639"/>
                  <a:pt x="255689" y="401302"/>
                  <a:pt x="265345" y="401209"/>
                </a:cubicBezTo>
                <a:lnTo>
                  <a:pt x="265438" y="401209"/>
                </a:lnTo>
                <a:lnTo>
                  <a:pt x="265530" y="401209"/>
                </a:lnTo>
                <a:lnTo>
                  <a:pt x="265716" y="401209"/>
                </a:lnTo>
                <a:lnTo>
                  <a:pt x="265809" y="401209"/>
                </a:lnTo>
                <a:cubicBezTo>
                  <a:pt x="275372" y="401302"/>
                  <a:pt x="330799" y="404824"/>
                  <a:pt x="279271" y="476474"/>
                </a:cubicBezTo>
                <a:lnTo>
                  <a:pt x="301739" y="539874"/>
                </a:lnTo>
                <a:lnTo>
                  <a:pt x="308517" y="518463"/>
                </a:lnTo>
                <a:close/>
                <a:moveTo>
                  <a:pt x="327742" y="231466"/>
                </a:moveTo>
                <a:cubicBezTo>
                  <a:pt x="322172" y="249450"/>
                  <a:pt x="314095" y="264003"/>
                  <a:pt x="305833" y="275591"/>
                </a:cubicBezTo>
                <a:cubicBezTo>
                  <a:pt x="326628" y="266599"/>
                  <a:pt x="343710" y="251026"/>
                  <a:pt x="354572" y="231466"/>
                </a:cubicBezTo>
                <a:close/>
                <a:moveTo>
                  <a:pt x="275754" y="231374"/>
                </a:moveTo>
                <a:lnTo>
                  <a:pt x="275754" y="279577"/>
                </a:lnTo>
                <a:cubicBezTo>
                  <a:pt x="285594" y="269658"/>
                  <a:pt x="298127" y="253899"/>
                  <a:pt x="306204" y="231374"/>
                </a:cubicBezTo>
                <a:close/>
                <a:moveTo>
                  <a:pt x="224880" y="231374"/>
                </a:moveTo>
                <a:cubicBezTo>
                  <a:pt x="232863" y="253621"/>
                  <a:pt x="245303" y="269473"/>
                  <a:pt x="255144" y="279484"/>
                </a:cubicBezTo>
                <a:lnTo>
                  <a:pt x="255144" y="231374"/>
                </a:lnTo>
                <a:close/>
                <a:moveTo>
                  <a:pt x="176233" y="231374"/>
                </a:moveTo>
                <a:cubicBezTo>
                  <a:pt x="187188" y="251026"/>
                  <a:pt x="204270" y="266599"/>
                  <a:pt x="224972" y="275498"/>
                </a:cubicBezTo>
                <a:cubicBezTo>
                  <a:pt x="216710" y="264003"/>
                  <a:pt x="208633" y="249264"/>
                  <a:pt x="203063" y="231374"/>
                </a:cubicBezTo>
                <a:close/>
                <a:moveTo>
                  <a:pt x="332569" y="153137"/>
                </a:moveTo>
                <a:cubicBezTo>
                  <a:pt x="334055" y="162128"/>
                  <a:pt x="334890" y="171769"/>
                  <a:pt x="334890" y="182059"/>
                </a:cubicBezTo>
                <a:cubicBezTo>
                  <a:pt x="334890" y="192441"/>
                  <a:pt x="334055" y="201989"/>
                  <a:pt x="332569" y="210980"/>
                </a:cubicBezTo>
                <a:lnTo>
                  <a:pt x="363205" y="210980"/>
                </a:lnTo>
                <a:cubicBezTo>
                  <a:pt x="365990" y="201803"/>
                  <a:pt x="367476" y="192070"/>
                  <a:pt x="367476" y="182059"/>
                </a:cubicBezTo>
                <a:cubicBezTo>
                  <a:pt x="367476" y="172047"/>
                  <a:pt x="365990" y="162407"/>
                  <a:pt x="363205" y="153137"/>
                </a:cubicBezTo>
                <a:close/>
                <a:moveTo>
                  <a:pt x="275754" y="153137"/>
                </a:moveTo>
                <a:lnTo>
                  <a:pt x="275754" y="210980"/>
                </a:lnTo>
                <a:lnTo>
                  <a:pt x="311774" y="210980"/>
                </a:lnTo>
                <a:cubicBezTo>
                  <a:pt x="313445" y="202081"/>
                  <a:pt x="314466" y="192441"/>
                  <a:pt x="314466" y="182059"/>
                </a:cubicBezTo>
                <a:cubicBezTo>
                  <a:pt x="314466" y="171584"/>
                  <a:pt x="313445" y="162036"/>
                  <a:pt x="311774" y="153137"/>
                </a:cubicBezTo>
                <a:close/>
                <a:moveTo>
                  <a:pt x="219124" y="153137"/>
                </a:moveTo>
                <a:cubicBezTo>
                  <a:pt x="217453" y="162036"/>
                  <a:pt x="216431" y="171676"/>
                  <a:pt x="216431" y="182059"/>
                </a:cubicBezTo>
                <a:cubicBezTo>
                  <a:pt x="216431" y="192533"/>
                  <a:pt x="217453" y="202081"/>
                  <a:pt x="219124" y="210980"/>
                </a:cubicBezTo>
                <a:lnTo>
                  <a:pt x="255144" y="210980"/>
                </a:lnTo>
                <a:lnTo>
                  <a:pt x="255144" y="153137"/>
                </a:lnTo>
                <a:close/>
                <a:moveTo>
                  <a:pt x="167693" y="153137"/>
                </a:moveTo>
                <a:cubicBezTo>
                  <a:pt x="164907" y="162407"/>
                  <a:pt x="163422" y="172047"/>
                  <a:pt x="163422" y="182059"/>
                </a:cubicBezTo>
                <a:cubicBezTo>
                  <a:pt x="163422" y="192070"/>
                  <a:pt x="164907" y="201803"/>
                  <a:pt x="167693" y="210980"/>
                </a:cubicBezTo>
                <a:lnTo>
                  <a:pt x="198328" y="210980"/>
                </a:lnTo>
                <a:cubicBezTo>
                  <a:pt x="196843" y="201989"/>
                  <a:pt x="196008" y="192348"/>
                  <a:pt x="196008" y="182059"/>
                </a:cubicBezTo>
                <a:cubicBezTo>
                  <a:pt x="196008" y="171676"/>
                  <a:pt x="196843" y="162128"/>
                  <a:pt x="198328" y="153137"/>
                </a:cubicBezTo>
                <a:close/>
                <a:moveTo>
                  <a:pt x="305925" y="88619"/>
                </a:moveTo>
                <a:cubicBezTo>
                  <a:pt x="314188" y="100114"/>
                  <a:pt x="322265" y="114853"/>
                  <a:pt x="327835" y="132743"/>
                </a:cubicBezTo>
                <a:lnTo>
                  <a:pt x="354664" y="132743"/>
                </a:lnTo>
                <a:cubicBezTo>
                  <a:pt x="343710" y="113091"/>
                  <a:pt x="326628" y="97518"/>
                  <a:pt x="305925" y="88619"/>
                </a:cubicBezTo>
                <a:close/>
                <a:moveTo>
                  <a:pt x="225065" y="88619"/>
                </a:moveTo>
                <a:cubicBezTo>
                  <a:pt x="204270" y="97518"/>
                  <a:pt x="187188" y="113091"/>
                  <a:pt x="176326" y="132743"/>
                </a:cubicBezTo>
                <a:lnTo>
                  <a:pt x="203156" y="132743"/>
                </a:lnTo>
                <a:cubicBezTo>
                  <a:pt x="208726" y="114853"/>
                  <a:pt x="216803" y="100206"/>
                  <a:pt x="225065" y="88619"/>
                </a:cubicBezTo>
                <a:close/>
                <a:moveTo>
                  <a:pt x="275754" y="84633"/>
                </a:moveTo>
                <a:lnTo>
                  <a:pt x="275754" y="132743"/>
                </a:lnTo>
                <a:lnTo>
                  <a:pt x="306018" y="132743"/>
                </a:lnTo>
                <a:cubicBezTo>
                  <a:pt x="298034" y="110496"/>
                  <a:pt x="285594" y="94644"/>
                  <a:pt x="275754" y="84633"/>
                </a:cubicBezTo>
                <a:close/>
                <a:moveTo>
                  <a:pt x="255144" y="84540"/>
                </a:moveTo>
                <a:cubicBezTo>
                  <a:pt x="245303" y="94459"/>
                  <a:pt x="232771" y="110218"/>
                  <a:pt x="224694" y="132743"/>
                </a:cubicBezTo>
                <a:lnTo>
                  <a:pt x="255144" y="132743"/>
                </a:lnTo>
                <a:close/>
                <a:moveTo>
                  <a:pt x="249017" y="0"/>
                </a:moveTo>
                <a:lnTo>
                  <a:pt x="281788" y="0"/>
                </a:lnTo>
                <a:cubicBezTo>
                  <a:pt x="288379" y="0"/>
                  <a:pt x="293764" y="5284"/>
                  <a:pt x="293764" y="11958"/>
                </a:cubicBezTo>
                <a:lnTo>
                  <a:pt x="293764" y="39211"/>
                </a:lnTo>
                <a:cubicBezTo>
                  <a:pt x="312981" y="42919"/>
                  <a:pt x="330806" y="50428"/>
                  <a:pt x="346495" y="60902"/>
                </a:cubicBezTo>
                <a:lnTo>
                  <a:pt x="365805" y="41621"/>
                </a:lnTo>
                <a:cubicBezTo>
                  <a:pt x="370539" y="36986"/>
                  <a:pt x="378245" y="36986"/>
                  <a:pt x="382887" y="41621"/>
                </a:cubicBezTo>
                <a:lnTo>
                  <a:pt x="406096" y="64796"/>
                </a:lnTo>
                <a:cubicBezTo>
                  <a:pt x="410737" y="69431"/>
                  <a:pt x="410737" y="77125"/>
                  <a:pt x="406096" y="81852"/>
                </a:cubicBezTo>
                <a:lnTo>
                  <a:pt x="386786" y="101133"/>
                </a:lnTo>
                <a:cubicBezTo>
                  <a:pt x="397276" y="116799"/>
                  <a:pt x="404703" y="134597"/>
                  <a:pt x="408509" y="153786"/>
                </a:cubicBezTo>
                <a:lnTo>
                  <a:pt x="435803" y="153786"/>
                </a:lnTo>
                <a:cubicBezTo>
                  <a:pt x="442302" y="153786"/>
                  <a:pt x="447779" y="159069"/>
                  <a:pt x="447779" y="165744"/>
                </a:cubicBezTo>
                <a:lnTo>
                  <a:pt x="447779" y="198466"/>
                </a:lnTo>
                <a:cubicBezTo>
                  <a:pt x="447779" y="205048"/>
                  <a:pt x="442487" y="210517"/>
                  <a:pt x="435803" y="210517"/>
                </a:cubicBezTo>
                <a:lnTo>
                  <a:pt x="408509" y="210517"/>
                </a:lnTo>
                <a:cubicBezTo>
                  <a:pt x="404796" y="229612"/>
                  <a:pt x="397276" y="247410"/>
                  <a:pt x="386786" y="263169"/>
                </a:cubicBezTo>
                <a:lnTo>
                  <a:pt x="406096" y="282265"/>
                </a:lnTo>
                <a:cubicBezTo>
                  <a:pt x="410737" y="286992"/>
                  <a:pt x="410737" y="294686"/>
                  <a:pt x="406096" y="299321"/>
                </a:cubicBezTo>
                <a:lnTo>
                  <a:pt x="382887" y="322496"/>
                </a:lnTo>
                <a:cubicBezTo>
                  <a:pt x="378245" y="327131"/>
                  <a:pt x="370539" y="327131"/>
                  <a:pt x="365805" y="322496"/>
                </a:cubicBezTo>
                <a:lnTo>
                  <a:pt x="346495" y="303215"/>
                </a:lnTo>
                <a:cubicBezTo>
                  <a:pt x="330806" y="313597"/>
                  <a:pt x="312981" y="321105"/>
                  <a:pt x="293764" y="324906"/>
                </a:cubicBezTo>
                <a:lnTo>
                  <a:pt x="293764" y="352159"/>
                </a:lnTo>
                <a:cubicBezTo>
                  <a:pt x="293764" y="358833"/>
                  <a:pt x="288472" y="364117"/>
                  <a:pt x="281788" y="364117"/>
                </a:cubicBezTo>
                <a:lnTo>
                  <a:pt x="249017" y="364117"/>
                </a:lnTo>
                <a:cubicBezTo>
                  <a:pt x="242426" y="364117"/>
                  <a:pt x="236948" y="358833"/>
                  <a:pt x="236948" y="352159"/>
                </a:cubicBezTo>
                <a:lnTo>
                  <a:pt x="236948" y="324906"/>
                </a:lnTo>
                <a:cubicBezTo>
                  <a:pt x="217824" y="321198"/>
                  <a:pt x="199999" y="313689"/>
                  <a:pt x="184217" y="303215"/>
                </a:cubicBezTo>
                <a:lnTo>
                  <a:pt x="164907" y="322496"/>
                </a:lnTo>
                <a:cubicBezTo>
                  <a:pt x="160266" y="327131"/>
                  <a:pt x="152560" y="327131"/>
                  <a:pt x="147826" y="322496"/>
                </a:cubicBezTo>
                <a:lnTo>
                  <a:pt x="124709" y="299321"/>
                </a:lnTo>
                <a:cubicBezTo>
                  <a:pt x="119975" y="294686"/>
                  <a:pt x="119975" y="286992"/>
                  <a:pt x="124709" y="282265"/>
                </a:cubicBezTo>
                <a:lnTo>
                  <a:pt x="144019" y="262984"/>
                </a:lnTo>
                <a:cubicBezTo>
                  <a:pt x="133529" y="247318"/>
                  <a:pt x="126102" y="229520"/>
                  <a:pt x="122203" y="210331"/>
                </a:cubicBezTo>
                <a:lnTo>
                  <a:pt x="95002" y="210331"/>
                </a:lnTo>
                <a:cubicBezTo>
                  <a:pt x="88410" y="210331"/>
                  <a:pt x="83026" y="205048"/>
                  <a:pt x="83026" y="198373"/>
                </a:cubicBezTo>
                <a:lnTo>
                  <a:pt x="83026" y="165651"/>
                </a:lnTo>
                <a:cubicBezTo>
                  <a:pt x="83026" y="159069"/>
                  <a:pt x="88318" y="153600"/>
                  <a:pt x="95002" y="153600"/>
                </a:cubicBezTo>
                <a:lnTo>
                  <a:pt x="95002" y="153786"/>
                </a:lnTo>
                <a:lnTo>
                  <a:pt x="122389" y="153786"/>
                </a:lnTo>
                <a:cubicBezTo>
                  <a:pt x="126102" y="134597"/>
                  <a:pt x="133622" y="116799"/>
                  <a:pt x="144112" y="101133"/>
                </a:cubicBezTo>
                <a:lnTo>
                  <a:pt x="124709" y="81852"/>
                </a:lnTo>
                <a:cubicBezTo>
                  <a:pt x="119975" y="77125"/>
                  <a:pt x="119975" y="69431"/>
                  <a:pt x="124709" y="64796"/>
                </a:cubicBezTo>
                <a:lnTo>
                  <a:pt x="147826" y="41621"/>
                </a:lnTo>
                <a:cubicBezTo>
                  <a:pt x="152560" y="36986"/>
                  <a:pt x="160266" y="36986"/>
                  <a:pt x="164907" y="41621"/>
                </a:cubicBezTo>
                <a:lnTo>
                  <a:pt x="184217" y="60902"/>
                </a:lnTo>
                <a:cubicBezTo>
                  <a:pt x="199999" y="50428"/>
                  <a:pt x="217824" y="43012"/>
                  <a:pt x="236948" y="39211"/>
                </a:cubicBezTo>
                <a:lnTo>
                  <a:pt x="236948" y="11958"/>
                </a:lnTo>
                <a:cubicBezTo>
                  <a:pt x="236948" y="5469"/>
                  <a:pt x="242333" y="0"/>
                  <a:pt x="249017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矩形: 圆角 17">
            <a:extLst>
              <a:ext uri="{FF2B5EF4-FFF2-40B4-BE49-F238E27FC236}">
                <a16:creationId xmlns:a16="http://schemas.microsoft.com/office/drawing/2014/main" id="{E55CE6D2-8176-4338-BC5C-14F9802D5FB5}"/>
              </a:ext>
            </a:extLst>
          </p:cNvPr>
          <p:cNvSpPr/>
          <p:nvPr/>
        </p:nvSpPr>
        <p:spPr bwMode="auto">
          <a:xfrm>
            <a:off x="5058739" y="3906215"/>
            <a:ext cx="2074521" cy="2154237"/>
          </a:xfrm>
          <a:prstGeom prst="roundRect">
            <a:avLst>
              <a:gd name="adj" fmla="val 46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</a:t>
            </a:r>
            <a:r>
              <a:rPr lang="en-US" altLang="zh-CN" sz="12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ption </a:t>
            </a:r>
            <a:r>
              <a:rPr lang="en-US" altLang="zh-CN" sz="12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endParaRPr lang="en-US" altLang="zh-CN" sz="12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E55CE6D2-8176-4338-BC5C-14F9802D5FB5}"/>
              </a:ext>
            </a:extLst>
          </p:cNvPr>
          <p:cNvSpPr/>
          <p:nvPr/>
        </p:nvSpPr>
        <p:spPr bwMode="auto">
          <a:xfrm>
            <a:off x="9320383" y="3906215"/>
            <a:ext cx="2074521" cy="2154237"/>
          </a:xfrm>
          <a:prstGeom prst="roundRect">
            <a:avLst>
              <a:gd name="adj" fmla="val 4685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</a:t>
            </a:r>
            <a:r>
              <a:rPr lang="en-US" altLang="zh-CN" sz="12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ption </a:t>
            </a:r>
            <a:r>
              <a:rPr lang="en-US" altLang="zh-CN" sz="12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endParaRPr lang="en-US" altLang="zh-CN" sz="12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2326749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此次疫情的临床特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8393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此次疫情的临床特点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2162656" y="2096459"/>
            <a:ext cx="7866684" cy="3084194"/>
            <a:chOff x="654511" y="1531088"/>
            <a:chExt cx="10877774" cy="4264704"/>
          </a:xfrm>
          <a:solidFill>
            <a:schemeClr val="bg1">
              <a:lumMod val="95000"/>
              <a:alpha val="70000"/>
            </a:schemeClr>
          </a:solidFill>
        </p:grpSpPr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945DBC1-FD0F-4CA5-877F-43FA7EA96F75}"/>
                </a:ext>
              </a:extLst>
            </p:cNvPr>
            <p:cNvSpPr/>
            <p:nvPr/>
          </p:nvSpPr>
          <p:spPr bwMode="auto">
            <a:xfrm>
              <a:off x="4357583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017B22D2-B9A0-4F70-AD6E-69F79562D4EB}"/>
                </a:ext>
              </a:extLst>
            </p:cNvPr>
            <p:cNvSpPr/>
            <p:nvPr/>
          </p:nvSpPr>
          <p:spPr bwMode="auto">
            <a:xfrm>
              <a:off x="4474847" y="1531088"/>
              <a:ext cx="101834" cy="54004"/>
            </a:xfrm>
            <a:custGeom>
              <a:avLst/>
              <a:gdLst>
                <a:gd name="T0" fmla="*/ 27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CEB8AC0-B251-4CD7-9366-ED064852AA79}"/>
                </a:ext>
              </a:extLst>
            </p:cNvPr>
            <p:cNvSpPr/>
            <p:nvPr/>
          </p:nvSpPr>
          <p:spPr bwMode="auto">
            <a:xfrm>
              <a:off x="4590568" y="1531088"/>
              <a:ext cx="103378" cy="54004"/>
            </a:xfrm>
            <a:custGeom>
              <a:avLst/>
              <a:gdLst>
                <a:gd name="T0" fmla="*/ 28 w 28"/>
                <a:gd name="T1" fmla="*/ 7 h 15"/>
                <a:gd name="T2" fmla="*/ 16 w 28"/>
                <a:gd name="T3" fmla="*/ 0 h 15"/>
                <a:gd name="T4" fmla="*/ 1 w 28"/>
                <a:gd name="T5" fmla="*/ 7 h 15"/>
                <a:gd name="T6" fmla="*/ 13 w 28"/>
                <a:gd name="T7" fmla="*/ 15 h 15"/>
                <a:gd name="T8" fmla="*/ 28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7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9" y="0"/>
                    <a:pt x="2" y="3"/>
                    <a:pt x="1" y="7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C072D2F-E094-4AAB-BD40-98F3FBBD1503}"/>
                </a:ext>
              </a:extLst>
            </p:cNvPr>
            <p:cNvSpPr/>
            <p:nvPr/>
          </p:nvSpPr>
          <p:spPr bwMode="auto">
            <a:xfrm>
              <a:off x="4710918" y="1531088"/>
              <a:ext cx="103378" cy="54004"/>
            </a:xfrm>
            <a:custGeom>
              <a:avLst/>
              <a:gdLst>
                <a:gd name="T0" fmla="*/ 27 w 28"/>
                <a:gd name="T1" fmla="*/ 7 h 15"/>
                <a:gd name="T2" fmla="*/ 15 w 28"/>
                <a:gd name="T3" fmla="*/ 0 h 15"/>
                <a:gd name="T4" fmla="*/ 1 w 28"/>
                <a:gd name="T5" fmla="*/ 7 h 15"/>
                <a:gd name="T6" fmla="*/ 12 w 28"/>
                <a:gd name="T7" fmla="*/ 15 h 15"/>
                <a:gd name="T8" fmla="*/ 27 w 28"/>
                <a:gd name="T9" fmla="*/ 7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7"/>
                  </a:moveTo>
                  <a:cubicBezTo>
                    <a:pt x="28" y="3"/>
                    <a:pt x="22" y="0"/>
                    <a:pt x="15" y="0"/>
                  </a:cubicBezTo>
                  <a:cubicBezTo>
                    <a:pt x="8" y="0"/>
                    <a:pt x="1" y="3"/>
                    <a:pt x="1" y="7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CF0DDF05-E7F0-42E0-91A8-3DFD8742C771}"/>
                </a:ext>
              </a:extLst>
            </p:cNvPr>
            <p:cNvSpPr/>
            <p:nvPr/>
          </p:nvSpPr>
          <p:spPr bwMode="auto">
            <a:xfrm>
              <a:off x="4102997" y="1595892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D9014901-A56E-4E4B-8C65-2CFBFE6F099E}"/>
                </a:ext>
              </a:extLst>
            </p:cNvPr>
            <p:cNvSpPr/>
            <p:nvPr/>
          </p:nvSpPr>
          <p:spPr bwMode="auto">
            <a:xfrm>
              <a:off x="4223347" y="1595892"/>
              <a:ext cx="101834" cy="55546"/>
            </a:xfrm>
            <a:custGeom>
              <a:avLst/>
              <a:gdLst>
                <a:gd name="T0" fmla="*/ 27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19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0A9CA3FB-A08C-4E58-98C7-955CAF6235BD}"/>
                </a:ext>
              </a:extLst>
            </p:cNvPr>
            <p:cNvSpPr/>
            <p:nvPr/>
          </p:nvSpPr>
          <p:spPr bwMode="auto">
            <a:xfrm>
              <a:off x="4339067" y="1595892"/>
              <a:ext cx="106464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3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2E64A2A-1DDB-44B6-B198-2376D32968B3}"/>
                </a:ext>
              </a:extLst>
            </p:cNvPr>
            <p:cNvSpPr/>
            <p:nvPr/>
          </p:nvSpPr>
          <p:spPr bwMode="auto">
            <a:xfrm>
              <a:off x="4459417" y="1595892"/>
              <a:ext cx="103378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0EA7F74-462E-4F03-AA59-F9FF29995498}"/>
                </a:ext>
              </a:extLst>
            </p:cNvPr>
            <p:cNvSpPr/>
            <p:nvPr/>
          </p:nvSpPr>
          <p:spPr bwMode="auto">
            <a:xfrm>
              <a:off x="4579767" y="1595892"/>
              <a:ext cx="103378" cy="55546"/>
            </a:xfrm>
            <a:custGeom>
              <a:avLst/>
              <a:gdLst>
                <a:gd name="T0" fmla="*/ 27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7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7" y="8"/>
                  </a:moveTo>
                  <a:cubicBezTo>
                    <a:pt x="28" y="4"/>
                    <a:pt x="23" y="0"/>
                    <a:pt x="15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6" y="12"/>
                    <a:pt x="27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281E2E9-D09C-41FC-B5AD-6853290AEB1F}"/>
                </a:ext>
              </a:extLst>
            </p:cNvPr>
            <p:cNvSpPr/>
            <p:nvPr/>
          </p:nvSpPr>
          <p:spPr bwMode="auto">
            <a:xfrm>
              <a:off x="4697031" y="1595892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4"/>
                    <a:pt x="23" y="0"/>
                    <a:pt x="16" y="0"/>
                  </a:cubicBezTo>
                  <a:cubicBezTo>
                    <a:pt x="8" y="0"/>
                    <a:pt x="2" y="4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F67F3D8-A991-4892-A0DA-4D8EE48FBA0C}"/>
                </a:ext>
              </a:extLst>
            </p:cNvPr>
            <p:cNvSpPr/>
            <p:nvPr/>
          </p:nvSpPr>
          <p:spPr bwMode="auto">
            <a:xfrm>
              <a:off x="3839153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8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0EB9C79-F484-4816-8A72-BE9C11F3638B}"/>
                </a:ext>
              </a:extLst>
            </p:cNvPr>
            <p:cNvSpPr/>
            <p:nvPr/>
          </p:nvSpPr>
          <p:spPr bwMode="auto">
            <a:xfrm>
              <a:off x="395950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39E068E-9B4B-4320-A0B7-BB7E2233E229}"/>
                </a:ext>
              </a:extLst>
            </p:cNvPr>
            <p:cNvSpPr/>
            <p:nvPr/>
          </p:nvSpPr>
          <p:spPr bwMode="auto">
            <a:xfrm>
              <a:off x="4079852" y="1665325"/>
              <a:ext cx="109550" cy="55546"/>
            </a:xfrm>
            <a:custGeom>
              <a:avLst/>
              <a:gdLst>
                <a:gd name="T0" fmla="*/ 29 w 30"/>
                <a:gd name="T1" fmla="*/ 8 h 15"/>
                <a:gd name="T2" fmla="*/ 17 w 30"/>
                <a:gd name="T3" fmla="*/ 0 h 15"/>
                <a:gd name="T4" fmla="*/ 2 w 30"/>
                <a:gd name="T5" fmla="*/ 8 h 15"/>
                <a:gd name="T6" fmla="*/ 13 w 30"/>
                <a:gd name="T7" fmla="*/ 15 h 15"/>
                <a:gd name="T8" fmla="*/ 29 w 30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5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0" y="15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7636DC22-B87C-4319-918E-2822395989E5}"/>
                </a:ext>
              </a:extLst>
            </p:cNvPr>
            <p:cNvSpPr/>
            <p:nvPr/>
          </p:nvSpPr>
          <p:spPr bwMode="auto">
            <a:xfrm>
              <a:off x="420483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D209E92-1445-4911-993E-EA6AD11611D2}"/>
                </a:ext>
              </a:extLst>
            </p:cNvPr>
            <p:cNvSpPr/>
            <p:nvPr/>
          </p:nvSpPr>
          <p:spPr bwMode="auto">
            <a:xfrm>
              <a:off x="4325181" y="1665325"/>
              <a:ext cx="104920" cy="55546"/>
            </a:xfrm>
            <a:custGeom>
              <a:avLst/>
              <a:gdLst>
                <a:gd name="T0" fmla="*/ 28 w 29"/>
                <a:gd name="T1" fmla="*/ 8 h 15"/>
                <a:gd name="T2" fmla="*/ 16 w 29"/>
                <a:gd name="T3" fmla="*/ 0 h 15"/>
                <a:gd name="T4" fmla="*/ 1 w 29"/>
                <a:gd name="T5" fmla="*/ 8 h 15"/>
                <a:gd name="T6" fmla="*/ 12 w 29"/>
                <a:gd name="T7" fmla="*/ 15 h 15"/>
                <a:gd name="T8" fmla="*/ 28 w 29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5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7285999A-4139-4FBF-A073-20CEBAE908F6}"/>
                </a:ext>
              </a:extLst>
            </p:cNvPr>
            <p:cNvSpPr/>
            <p:nvPr/>
          </p:nvSpPr>
          <p:spPr bwMode="auto">
            <a:xfrm>
              <a:off x="44455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2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2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C46312D2-B2BA-4DEE-9E72-5EE6FAAB9BB6}"/>
                </a:ext>
              </a:extLst>
            </p:cNvPr>
            <p:cNvSpPr/>
            <p:nvPr/>
          </p:nvSpPr>
          <p:spPr bwMode="auto">
            <a:xfrm>
              <a:off x="45658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A1A3113B-5D6B-49E5-ACDD-19D04E1D8D01}"/>
                </a:ext>
              </a:extLst>
            </p:cNvPr>
            <p:cNvSpPr/>
            <p:nvPr/>
          </p:nvSpPr>
          <p:spPr bwMode="auto">
            <a:xfrm>
              <a:off x="468623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6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6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A071E511-5EE4-490C-ADA3-1A762083321F}"/>
                </a:ext>
              </a:extLst>
            </p:cNvPr>
            <p:cNvSpPr/>
            <p:nvPr/>
          </p:nvSpPr>
          <p:spPr bwMode="auto">
            <a:xfrm>
              <a:off x="4806581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5" y="15"/>
                    <a:pt x="13" y="15"/>
                  </a:cubicBezTo>
                  <a:cubicBezTo>
                    <a:pt x="20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473CFFA3-4892-47CE-B7B0-319AF31BD7FB}"/>
                </a:ext>
              </a:extLst>
            </p:cNvPr>
            <p:cNvSpPr/>
            <p:nvPr/>
          </p:nvSpPr>
          <p:spPr bwMode="auto">
            <a:xfrm>
              <a:off x="4926930" y="1665325"/>
              <a:ext cx="101834" cy="55546"/>
            </a:xfrm>
            <a:custGeom>
              <a:avLst/>
              <a:gdLst>
                <a:gd name="T0" fmla="*/ 28 w 28"/>
                <a:gd name="T1" fmla="*/ 8 h 15"/>
                <a:gd name="T2" fmla="*/ 15 w 28"/>
                <a:gd name="T3" fmla="*/ 0 h 15"/>
                <a:gd name="T4" fmla="*/ 1 w 28"/>
                <a:gd name="T5" fmla="*/ 8 h 15"/>
                <a:gd name="T6" fmla="*/ 13 w 28"/>
                <a:gd name="T7" fmla="*/ 15 h 15"/>
                <a:gd name="T8" fmla="*/ 28 w 28"/>
                <a:gd name="T9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5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1" y="8"/>
                  </a:cubicBezTo>
                  <a:cubicBezTo>
                    <a:pt x="0" y="12"/>
                    <a:pt x="6" y="15"/>
                    <a:pt x="13" y="15"/>
                  </a:cubicBezTo>
                  <a:cubicBezTo>
                    <a:pt x="21" y="15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ACD568C-1508-45E3-87D5-22873AF2A9D2}"/>
                </a:ext>
              </a:extLst>
            </p:cNvPr>
            <p:cNvSpPr/>
            <p:nvPr/>
          </p:nvSpPr>
          <p:spPr bwMode="auto">
            <a:xfrm>
              <a:off x="3697202" y="1734757"/>
              <a:ext cx="109550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2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E4706FA4-9F0B-4295-A0AD-02E88BD7D6C0}"/>
                </a:ext>
              </a:extLst>
            </p:cNvPr>
            <p:cNvSpPr/>
            <p:nvPr/>
          </p:nvSpPr>
          <p:spPr bwMode="auto">
            <a:xfrm>
              <a:off x="3817551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8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8" y="0"/>
                  </a:cubicBezTo>
                  <a:cubicBezTo>
                    <a:pt x="10" y="0"/>
                    <a:pt x="3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2709A6F7-B59A-46DB-AF9F-100FAC764F46}"/>
                </a:ext>
              </a:extLst>
            </p:cNvPr>
            <p:cNvSpPr/>
            <p:nvPr/>
          </p:nvSpPr>
          <p:spPr bwMode="auto">
            <a:xfrm>
              <a:off x="394098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7 w 29"/>
                <a:gd name="T3" fmla="*/ 0 h 16"/>
                <a:gd name="T4" fmla="*/ 1 w 29"/>
                <a:gd name="T5" fmla="*/ 8 h 16"/>
                <a:gd name="T6" fmla="*/ 12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95E7DAAF-965A-4571-A9EF-B55FE5404E91}"/>
                </a:ext>
              </a:extLst>
            </p:cNvPr>
            <p:cNvSpPr/>
            <p:nvPr/>
          </p:nvSpPr>
          <p:spPr bwMode="auto">
            <a:xfrm>
              <a:off x="4062880" y="1734757"/>
              <a:ext cx="108006" cy="58632"/>
            </a:xfrm>
            <a:custGeom>
              <a:avLst/>
              <a:gdLst>
                <a:gd name="T0" fmla="*/ 28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8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8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5BE8A5E6-25E7-4A89-9DBC-2C7C720A67B4}"/>
                </a:ext>
              </a:extLst>
            </p:cNvPr>
            <p:cNvSpPr/>
            <p:nvPr/>
          </p:nvSpPr>
          <p:spPr bwMode="auto">
            <a:xfrm>
              <a:off x="4183230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2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5" y="0"/>
                    <a:pt x="17" y="0"/>
                  </a:cubicBezTo>
                  <a:cubicBezTo>
                    <a:pt x="10" y="0"/>
                    <a:pt x="3" y="3"/>
                    <a:pt x="2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2412157B-061D-4AFE-AD7A-A1994402DA54}"/>
                </a:ext>
              </a:extLst>
            </p:cNvPr>
            <p:cNvSpPr/>
            <p:nvPr/>
          </p:nvSpPr>
          <p:spPr bwMode="auto">
            <a:xfrm>
              <a:off x="4306666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F1EDD4BA-CF38-4E36-B2FC-2EEF26395ABD}"/>
                </a:ext>
              </a:extLst>
            </p:cNvPr>
            <p:cNvSpPr/>
            <p:nvPr/>
          </p:nvSpPr>
          <p:spPr bwMode="auto">
            <a:xfrm>
              <a:off x="4427016" y="1734757"/>
              <a:ext cx="109550" cy="58632"/>
            </a:xfrm>
            <a:custGeom>
              <a:avLst/>
              <a:gdLst>
                <a:gd name="T0" fmla="*/ 29 w 30"/>
                <a:gd name="T1" fmla="*/ 8 h 16"/>
                <a:gd name="T2" fmla="*/ 17 w 30"/>
                <a:gd name="T3" fmla="*/ 0 h 16"/>
                <a:gd name="T4" fmla="*/ 1 w 30"/>
                <a:gd name="T5" fmla="*/ 8 h 16"/>
                <a:gd name="T6" fmla="*/ 13 w 30"/>
                <a:gd name="T7" fmla="*/ 16 h 16"/>
                <a:gd name="T8" fmla="*/ 29 w 30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6">
                  <a:moveTo>
                    <a:pt x="29" y="8"/>
                  </a:moveTo>
                  <a:cubicBezTo>
                    <a:pt x="30" y="3"/>
                    <a:pt x="24" y="0"/>
                    <a:pt x="17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55486B50-464A-4E15-835C-7F4F585AA333}"/>
                </a:ext>
              </a:extLst>
            </p:cNvPr>
            <p:cNvSpPr/>
            <p:nvPr/>
          </p:nvSpPr>
          <p:spPr bwMode="auto">
            <a:xfrm>
              <a:off x="455045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3" y="0"/>
                    <a:pt x="16" y="0"/>
                  </a:cubicBezTo>
                  <a:cubicBezTo>
                    <a:pt x="8" y="0"/>
                    <a:pt x="2" y="3"/>
                    <a:pt x="1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D4607AE2-8694-4105-9648-EA7D5CFD5818}"/>
                </a:ext>
              </a:extLst>
            </p:cNvPr>
            <p:cNvSpPr/>
            <p:nvPr/>
          </p:nvSpPr>
          <p:spPr bwMode="auto">
            <a:xfrm>
              <a:off x="4670801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6 w 29"/>
                <a:gd name="T3" fmla="*/ 0 h 16"/>
                <a:gd name="T4" fmla="*/ 1 w 29"/>
                <a:gd name="T5" fmla="*/ 8 h 16"/>
                <a:gd name="T6" fmla="*/ 13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9" y="3"/>
                    <a:pt x="24" y="0"/>
                    <a:pt x="16" y="0"/>
                  </a:cubicBezTo>
                  <a:cubicBezTo>
                    <a:pt x="9" y="0"/>
                    <a:pt x="2" y="3"/>
                    <a:pt x="1" y="8"/>
                  </a:cubicBezTo>
                  <a:cubicBezTo>
                    <a:pt x="0" y="12"/>
                    <a:pt x="6" y="16"/>
                    <a:pt x="13" y="16"/>
                  </a:cubicBezTo>
                  <a:cubicBezTo>
                    <a:pt x="21" y="16"/>
                    <a:pt x="28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2C2C7B8A-8AE9-49B7-99BD-E47BB3FCAC32}"/>
                </a:ext>
              </a:extLst>
            </p:cNvPr>
            <p:cNvSpPr/>
            <p:nvPr/>
          </p:nvSpPr>
          <p:spPr bwMode="auto">
            <a:xfrm>
              <a:off x="4795779" y="1734757"/>
              <a:ext cx="101834" cy="58632"/>
            </a:xfrm>
            <a:custGeom>
              <a:avLst/>
              <a:gdLst>
                <a:gd name="T0" fmla="*/ 28 w 28"/>
                <a:gd name="T1" fmla="*/ 8 h 16"/>
                <a:gd name="T2" fmla="*/ 15 w 28"/>
                <a:gd name="T3" fmla="*/ 0 h 16"/>
                <a:gd name="T4" fmla="*/ 0 w 28"/>
                <a:gd name="T5" fmla="*/ 8 h 16"/>
                <a:gd name="T6" fmla="*/ 13 w 28"/>
                <a:gd name="T7" fmla="*/ 16 h 16"/>
                <a:gd name="T8" fmla="*/ 28 w 28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6">
                  <a:moveTo>
                    <a:pt x="28" y="8"/>
                  </a:moveTo>
                  <a:cubicBezTo>
                    <a:pt x="28" y="3"/>
                    <a:pt x="23" y="0"/>
                    <a:pt x="15" y="0"/>
                  </a:cubicBezTo>
                  <a:cubicBezTo>
                    <a:pt x="8" y="0"/>
                    <a:pt x="1" y="3"/>
                    <a:pt x="0" y="8"/>
                  </a:cubicBezTo>
                  <a:cubicBezTo>
                    <a:pt x="0" y="12"/>
                    <a:pt x="5" y="16"/>
                    <a:pt x="13" y="16"/>
                  </a:cubicBezTo>
                  <a:cubicBezTo>
                    <a:pt x="20" y="16"/>
                    <a:pt x="27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865E5B3D-25D8-4CF7-9DC5-AC4203AD59F0}"/>
                </a:ext>
              </a:extLst>
            </p:cNvPr>
            <p:cNvSpPr/>
            <p:nvPr/>
          </p:nvSpPr>
          <p:spPr bwMode="auto">
            <a:xfrm>
              <a:off x="3919386" y="1804190"/>
              <a:ext cx="109550" cy="61718"/>
            </a:xfrm>
            <a:custGeom>
              <a:avLst/>
              <a:gdLst>
                <a:gd name="T0" fmla="*/ 28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2 w 30"/>
                <a:gd name="T7" fmla="*/ 17 h 17"/>
                <a:gd name="T8" fmla="*/ 28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8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E3D7E42-B962-4690-B3BD-5BF7FA7E2610}"/>
                </a:ext>
              </a:extLst>
            </p:cNvPr>
            <p:cNvSpPr/>
            <p:nvPr/>
          </p:nvSpPr>
          <p:spPr bwMode="auto">
            <a:xfrm>
              <a:off x="4039736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8 w 30"/>
                <a:gd name="T3" fmla="*/ 0 h 17"/>
                <a:gd name="T4" fmla="*/ 2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8" y="0"/>
                  </a:cubicBezTo>
                  <a:cubicBezTo>
                    <a:pt x="10" y="0"/>
                    <a:pt x="3" y="4"/>
                    <a:pt x="2" y="9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3E466257-BB59-401B-8F39-721EFC37808C}"/>
                </a:ext>
              </a:extLst>
            </p:cNvPr>
            <p:cNvSpPr/>
            <p:nvPr/>
          </p:nvSpPr>
          <p:spPr bwMode="auto">
            <a:xfrm>
              <a:off x="4164715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3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C96F6DB0-E3EE-4C17-87CB-ACAF4A122FEC}"/>
                </a:ext>
              </a:extLst>
            </p:cNvPr>
            <p:cNvSpPr/>
            <p:nvPr/>
          </p:nvSpPr>
          <p:spPr bwMode="auto">
            <a:xfrm>
              <a:off x="4288151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4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312844CE-A596-4F2B-81D7-C2D9B1706120}"/>
                </a:ext>
              </a:extLst>
            </p:cNvPr>
            <p:cNvSpPr/>
            <p:nvPr/>
          </p:nvSpPr>
          <p:spPr bwMode="auto">
            <a:xfrm>
              <a:off x="4413129" y="1804190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FF666BDE-DAA4-40C8-AF6B-04EC9A2BBB9F}"/>
                </a:ext>
              </a:extLst>
            </p:cNvPr>
            <p:cNvSpPr/>
            <p:nvPr/>
          </p:nvSpPr>
          <p:spPr bwMode="auto">
            <a:xfrm>
              <a:off x="4536564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575B0B39-1573-4EE7-ACCE-4ABA79DFF747}"/>
                </a:ext>
              </a:extLst>
            </p:cNvPr>
            <p:cNvSpPr/>
            <p:nvPr/>
          </p:nvSpPr>
          <p:spPr bwMode="auto">
            <a:xfrm>
              <a:off x="4660000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0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7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6247B6F2-1D4F-4EFE-90CA-E0912E024FAB}"/>
                </a:ext>
              </a:extLst>
            </p:cNvPr>
            <p:cNvSpPr/>
            <p:nvPr/>
          </p:nvSpPr>
          <p:spPr bwMode="auto">
            <a:xfrm>
              <a:off x="4780350" y="1804190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22B409DF-E9DF-4143-AD3B-81111F984D69}"/>
                </a:ext>
              </a:extLst>
            </p:cNvPr>
            <p:cNvSpPr/>
            <p:nvPr/>
          </p:nvSpPr>
          <p:spPr bwMode="auto">
            <a:xfrm>
              <a:off x="4022764" y="1878251"/>
              <a:ext cx="108006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88AE89F-F8D5-48F4-A169-9711EE7DA0F5}"/>
                </a:ext>
              </a:extLst>
            </p:cNvPr>
            <p:cNvSpPr/>
            <p:nvPr/>
          </p:nvSpPr>
          <p:spPr bwMode="auto">
            <a:xfrm>
              <a:off x="4146199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79CAEE87-38DC-448F-8C37-97E0EE9F7BFE}"/>
                </a:ext>
              </a:extLst>
            </p:cNvPr>
            <p:cNvSpPr/>
            <p:nvPr/>
          </p:nvSpPr>
          <p:spPr bwMode="auto">
            <a:xfrm>
              <a:off x="4269635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3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BEA2FF2-835B-4A2C-AC13-F6F85143BD6E}"/>
                </a:ext>
              </a:extLst>
            </p:cNvPr>
            <p:cNvSpPr/>
            <p:nvPr/>
          </p:nvSpPr>
          <p:spPr bwMode="auto">
            <a:xfrm>
              <a:off x="439461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7 w 30"/>
                <a:gd name="T3" fmla="*/ 0 h 17"/>
                <a:gd name="T4" fmla="*/ 1 w 30"/>
                <a:gd name="T5" fmla="*/ 9 h 17"/>
                <a:gd name="T6" fmla="*/ 14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30" y="4"/>
                    <a:pt x="25" y="0"/>
                    <a:pt x="17" y="0"/>
                  </a:cubicBezTo>
                  <a:cubicBezTo>
                    <a:pt x="9" y="0"/>
                    <a:pt x="2" y="4"/>
                    <a:pt x="1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446B8303-DA99-45A3-B355-822396FAC07E}"/>
                </a:ext>
              </a:extLst>
            </p:cNvPr>
            <p:cNvSpPr/>
            <p:nvPr/>
          </p:nvSpPr>
          <p:spPr bwMode="auto">
            <a:xfrm>
              <a:off x="4522678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629121CB-89E5-4BC2-8440-C23A75B9104B}"/>
                </a:ext>
              </a:extLst>
            </p:cNvPr>
            <p:cNvSpPr/>
            <p:nvPr/>
          </p:nvSpPr>
          <p:spPr bwMode="auto">
            <a:xfrm>
              <a:off x="4646114" y="1878251"/>
              <a:ext cx="104920" cy="61718"/>
            </a:xfrm>
            <a:custGeom>
              <a:avLst/>
              <a:gdLst>
                <a:gd name="T0" fmla="*/ 29 w 29"/>
                <a:gd name="T1" fmla="*/ 9 h 17"/>
                <a:gd name="T2" fmla="*/ 16 w 29"/>
                <a:gd name="T3" fmla="*/ 0 h 17"/>
                <a:gd name="T4" fmla="*/ 1 w 29"/>
                <a:gd name="T5" fmla="*/ 9 h 17"/>
                <a:gd name="T6" fmla="*/ 13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4" y="0"/>
                    <a:pt x="16" y="0"/>
                  </a:cubicBezTo>
                  <a:cubicBezTo>
                    <a:pt x="8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9C55D237-D812-4D3E-826A-47EC9D951562}"/>
                </a:ext>
              </a:extLst>
            </p:cNvPr>
            <p:cNvSpPr/>
            <p:nvPr/>
          </p:nvSpPr>
          <p:spPr bwMode="auto">
            <a:xfrm>
              <a:off x="3999619" y="1953855"/>
              <a:ext cx="114178" cy="63261"/>
            </a:xfrm>
            <a:custGeom>
              <a:avLst/>
              <a:gdLst>
                <a:gd name="T0" fmla="*/ 29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CB67C9DB-1847-4C99-AFCF-56366E80B98F}"/>
                </a:ext>
              </a:extLst>
            </p:cNvPr>
            <p:cNvSpPr/>
            <p:nvPr/>
          </p:nvSpPr>
          <p:spPr bwMode="auto">
            <a:xfrm>
              <a:off x="4124598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2 w 31"/>
                <a:gd name="T5" fmla="*/ 8 h 17"/>
                <a:gd name="T6" fmla="*/ 14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0" y="0"/>
                    <a:pt x="3" y="4"/>
                    <a:pt x="2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4F0203B2-E412-4B2E-99CE-E7EE12716E55}"/>
                </a:ext>
              </a:extLst>
            </p:cNvPr>
            <p:cNvSpPr/>
            <p:nvPr/>
          </p:nvSpPr>
          <p:spPr bwMode="auto">
            <a:xfrm>
              <a:off x="4252662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7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31" y="4"/>
                    <a:pt x="25" y="0"/>
                    <a:pt x="17" y="0"/>
                  </a:cubicBezTo>
                  <a:cubicBezTo>
                    <a:pt x="10" y="0"/>
                    <a:pt x="2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2AF922FF-1AA4-47B8-91C8-252FE19C7C9C}"/>
                </a:ext>
              </a:extLst>
            </p:cNvPr>
            <p:cNvSpPr/>
            <p:nvPr/>
          </p:nvSpPr>
          <p:spPr bwMode="auto">
            <a:xfrm>
              <a:off x="410608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5" y="0"/>
                    <a:pt x="18" y="0"/>
                  </a:cubicBezTo>
                  <a:cubicBezTo>
                    <a:pt x="10" y="0"/>
                    <a:pt x="2" y="4"/>
                    <a:pt x="1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BCF40E32-B003-47D7-8567-44CB9DBCD3C2}"/>
                </a:ext>
              </a:extLst>
            </p:cNvPr>
            <p:cNvSpPr/>
            <p:nvPr/>
          </p:nvSpPr>
          <p:spPr bwMode="auto">
            <a:xfrm>
              <a:off x="4883728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6 w 30"/>
                <a:gd name="T3" fmla="*/ 0 h 17"/>
                <a:gd name="T4" fmla="*/ 1 w 30"/>
                <a:gd name="T5" fmla="*/ 8 h 17"/>
                <a:gd name="T6" fmla="*/ 14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9" y="0"/>
                    <a:pt x="2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354EDF41-07E9-4EE5-A37F-7FC91476F47C}"/>
                </a:ext>
              </a:extLst>
            </p:cNvPr>
            <p:cNvSpPr/>
            <p:nvPr/>
          </p:nvSpPr>
          <p:spPr bwMode="auto">
            <a:xfrm>
              <a:off x="5010250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6 w 29"/>
                <a:gd name="T3" fmla="*/ 0 h 17"/>
                <a:gd name="T4" fmla="*/ 1 w 29"/>
                <a:gd name="T5" fmla="*/ 8 h 17"/>
                <a:gd name="T6" fmla="*/ 14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3" y="0"/>
                    <a:pt x="16" y="0"/>
                  </a:cubicBezTo>
                  <a:cubicBezTo>
                    <a:pt x="8" y="0"/>
                    <a:pt x="1" y="4"/>
                    <a:pt x="1" y="8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1" y="17"/>
                    <a:pt x="28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B61D109B-6C51-4A56-A6DE-9077370DE029}"/>
                </a:ext>
              </a:extLst>
            </p:cNvPr>
            <p:cNvSpPr/>
            <p:nvPr/>
          </p:nvSpPr>
          <p:spPr bwMode="auto">
            <a:xfrm>
              <a:off x="6525423" y="1953855"/>
              <a:ext cx="104920" cy="63261"/>
            </a:xfrm>
            <a:custGeom>
              <a:avLst/>
              <a:gdLst>
                <a:gd name="T0" fmla="*/ 28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14C08E8D-F4CA-445B-B851-FEA08AF98044}"/>
                </a:ext>
              </a:extLst>
            </p:cNvPr>
            <p:cNvSpPr/>
            <p:nvPr/>
          </p:nvSpPr>
          <p:spPr bwMode="auto">
            <a:xfrm>
              <a:off x="6533137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695E79-5478-4C57-A213-2EEC7BEBF35B}"/>
                </a:ext>
              </a:extLst>
            </p:cNvPr>
            <p:cNvSpPr/>
            <p:nvPr/>
          </p:nvSpPr>
          <p:spPr bwMode="auto">
            <a:xfrm>
              <a:off x="6539309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5664512A-305F-4FF4-9E21-7EEBFAC381D2}"/>
                </a:ext>
              </a:extLst>
            </p:cNvPr>
            <p:cNvSpPr/>
            <p:nvPr/>
          </p:nvSpPr>
          <p:spPr bwMode="auto">
            <a:xfrm>
              <a:off x="655782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905E62C-F734-44FF-B821-F1477A5DAC5F}"/>
                </a:ext>
              </a:extLst>
            </p:cNvPr>
            <p:cNvSpPr/>
            <p:nvPr/>
          </p:nvSpPr>
          <p:spPr bwMode="auto">
            <a:xfrm>
              <a:off x="6153572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32C28D8B-0881-4FD0-AFE8-77EB5F00720F}"/>
                </a:ext>
              </a:extLst>
            </p:cNvPr>
            <p:cNvSpPr/>
            <p:nvPr/>
          </p:nvSpPr>
          <p:spPr bwMode="auto">
            <a:xfrm>
              <a:off x="6284723" y="2108150"/>
              <a:ext cx="104920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5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42537EFB-DD76-47E4-A703-21D5770E0DB4}"/>
                </a:ext>
              </a:extLst>
            </p:cNvPr>
            <p:cNvSpPr/>
            <p:nvPr/>
          </p:nvSpPr>
          <p:spPr bwMode="auto">
            <a:xfrm>
              <a:off x="6412787" y="2108150"/>
              <a:ext cx="108006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B3739ED5-68A8-412D-9458-08F36EA823CA}"/>
                </a:ext>
              </a:extLst>
            </p:cNvPr>
            <p:cNvSpPr/>
            <p:nvPr/>
          </p:nvSpPr>
          <p:spPr bwMode="auto">
            <a:xfrm>
              <a:off x="628780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08A12EEF-E45B-49B6-842D-C8A46AD99D1D}"/>
                </a:ext>
              </a:extLst>
            </p:cNvPr>
            <p:cNvSpPr/>
            <p:nvPr/>
          </p:nvSpPr>
          <p:spPr bwMode="auto">
            <a:xfrm>
              <a:off x="6418959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4D21BB44-E571-41DF-B591-97F8037618FA}"/>
                </a:ext>
              </a:extLst>
            </p:cNvPr>
            <p:cNvSpPr/>
            <p:nvPr/>
          </p:nvSpPr>
          <p:spPr bwMode="auto">
            <a:xfrm>
              <a:off x="629552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A77012B2-433F-4175-887E-0965483C24A8}"/>
                </a:ext>
              </a:extLst>
            </p:cNvPr>
            <p:cNvSpPr/>
            <p:nvPr/>
          </p:nvSpPr>
          <p:spPr bwMode="auto">
            <a:xfrm>
              <a:off x="6426674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7405B88B-7C35-45AB-AB94-BA91904AD3F1}"/>
                </a:ext>
              </a:extLst>
            </p:cNvPr>
            <p:cNvSpPr/>
            <p:nvPr/>
          </p:nvSpPr>
          <p:spPr bwMode="auto">
            <a:xfrm>
              <a:off x="6298609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5"/>
                    <a:pt x="8" y="19"/>
                    <a:pt x="17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558AEFE7-DEA9-4867-8758-C9CCAF3AD1BC}"/>
                </a:ext>
              </a:extLst>
            </p:cNvPr>
            <p:cNvSpPr/>
            <p:nvPr/>
          </p:nvSpPr>
          <p:spPr bwMode="auto">
            <a:xfrm>
              <a:off x="6434389" y="2356565"/>
              <a:ext cx="112636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6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9B0FF24A-8FB9-4EE0-B456-351AED7EEE14}"/>
                </a:ext>
              </a:extLst>
            </p:cNvPr>
            <p:cNvSpPr/>
            <p:nvPr/>
          </p:nvSpPr>
          <p:spPr bwMode="auto">
            <a:xfrm>
              <a:off x="5886643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CE186852-F9C0-48B8-8E0B-58060A7EF7D8}"/>
                </a:ext>
              </a:extLst>
            </p:cNvPr>
            <p:cNvSpPr/>
            <p:nvPr/>
          </p:nvSpPr>
          <p:spPr bwMode="auto">
            <a:xfrm>
              <a:off x="6010079" y="1878251"/>
              <a:ext cx="103378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4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52B3AF1B-3E56-4A07-955A-6AEE61D8D171}"/>
                </a:ext>
              </a:extLst>
            </p:cNvPr>
            <p:cNvSpPr/>
            <p:nvPr/>
          </p:nvSpPr>
          <p:spPr bwMode="auto">
            <a:xfrm>
              <a:off x="6135057" y="1878251"/>
              <a:ext cx="101834" cy="61718"/>
            </a:xfrm>
            <a:custGeom>
              <a:avLst/>
              <a:gdLst>
                <a:gd name="T0" fmla="*/ 28 w 28"/>
                <a:gd name="T1" fmla="*/ 9 h 17"/>
                <a:gd name="T2" fmla="*/ 14 w 28"/>
                <a:gd name="T3" fmla="*/ 0 h 17"/>
                <a:gd name="T4" fmla="*/ 0 w 28"/>
                <a:gd name="T5" fmla="*/ 9 h 17"/>
                <a:gd name="T6" fmla="*/ 15 w 28"/>
                <a:gd name="T7" fmla="*/ 17 h 17"/>
                <a:gd name="T8" fmla="*/ 28 w 28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2" y="17"/>
                    <a:pt x="28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04086D33-B392-457C-A262-F59C4A6648CB}"/>
                </a:ext>
              </a:extLst>
            </p:cNvPr>
            <p:cNvSpPr/>
            <p:nvPr/>
          </p:nvSpPr>
          <p:spPr bwMode="auto">
            <a:xfrm>
              <a:off x="6258493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C5E83E25-079C-4F91-84A8-8C705BDAF8B7}"/>
                </a:ext>
              </a:extLst>
            </p:cNvPr>
            <p:cNvSpPr/>
            <p:nvPr/>
          </p:nvSpPr>
          <p:spPr bwMode="auto">
            <a:xfrm>
              <a:off x="6383472" y="1878251"/>
              <a:ext cx="104920" cy="61718"/>
            </a:xfrm>
            <a:custGeom>
              <a:avLst/>
              <a:gdLst>
                <a:gd name="T0" fmla="*/ 28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椭圆 89">
              <a:extLst>
                <a:ext uri="{FF2B5EF4-FFF2-40B4-BE49-F238E27FC236}">
                  <a16:creationId xmlns:a16="http://schemas.microsoft.com/office/drawing/2014/main" id="{F6115B9B-16FF-452C-AC81-6A913C3F23E0}"/>
                </a:ext>
              </a:extLst>
            </p:cNvPr>
            <p:cNvSpPr/>
            <p:nvPr/>
          </p:nvSpPr>
          <p:spPr bwMode="auto">
            <a:xfrm>
              <a:off x="5758578" y="1953855"/>
              <a:ext cx="10646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椭圆 90">
              <a:extLst>
                <a:ext uri="{FF2B5EF4-FFF2-40B4-BE49-F238E27FC236}">
                  <a16:creationId xmlns:a16="http://schemas.microsoft.com/office/drawing/2014/main" id="{82359E16-78F3-4AF9-9C8C-3654B945C836}"/>
                </a:ext>
              </a:extLst>
            </p:cNvPr>
            <p:cNvSpPr/>
            <p:nvPr/>
          </p:nvSpPr>
          <p:spPr bwMode="auto">
            <a:xfrm>
              <a:off x="5886643" y="1953855"/>
              <a:ext cx="101834" cy="63261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305E4361-2CE6-4291-82B8-6A736C9CC826}"/>
                </a:ext>
              </a:extLst>
            </p:cNvPr>
            <p:cNvSpPr/>
            <p:nvPr/>
          </p:nvSpPr>
          <p:spPr bwMode="auto">
            <a:xfrm>
              <a:off x="6010079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A94B99BD-60D6-406F-BD9D-02DD698D4445}"/>
                </a:ext>
              </a:extLst>
            </p:cNvPr>
            <p:cNvSpPr/>
            <p:nvPr/>
          </p:nvSpPr>
          <p:spPr bwMode="auto">
            <a:xfrm>
              <a:off x="6138143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887EDEF-FDFA-4B5E-B853-28C47042C4BE}"/>
                </a:ext>
              </a:extLst>
            </p:cNvPr>
            <p:cNvSpPr/>
            <p:nvPr/>
          </p:nvSpPr>
          <p:spPr bwMode="auto">
            <a:xfrm>
              <a:off x="6263122" y="1953855"/>
              <a:ext cx="104920" cy="63261"/>
            </a:xfrm>
            <a:custGeom>
              <a:avLst/>
              <a:gdLst>
                <a:gd name="T0" fmla="*/ 29 w 29"/>
                <a:gd name="T1" fmla="*/ 8 h 17"/>
                <a:gd name="T2" fmla="*/ 14 w 29"/>
                <a:gd name="T3" fmla="*/ 0 h 17"/>
                <a:gd name="T4" fmla="*/ 1 w 29"/>
                <a:gd name="T5" fmla="*/ 8 h 17"/>
                <a:gd name="T6" fmla="*/ 15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215BE4B6-84B2-4715-BF33-5CE1141BA0E2}"/>
                </a:ext>
              </a:extLst>
            </p:cNvPr>
            <p:cNvSpPr/>
            <p:nvPr/>
          </p:nvSpPr>
          <p:spPr bwMode="auto">
            <a:xfrm>
              <a:off x="6389644" y="1953855"/>
              <a:ext cx="106464" cy="63261"/>
            </a:xfrm>
            <a:custGeom>
              <a:avLst/>
              <a:gdLst>
                <a:gd name="T0" fmla="*/ 28 w 29"/>
                <a:gd name="T1" fmla="*/ 8 h 17"/>
                <a:gd name="T2" fmla="*/ 14 w 29"/>
                <a:gd name="T3" fmla="*/ 0 h 17"/>
                <a:gd name="T4" fmla="*/ 0 w 29"/>
                <a:gd name="T5" fmla="*/ 8 h 17"/>
                <a:gd name="T6" fmla="*/ 15 w 29"/>
                <a:gd name="T7" fmla="*/ 17 h 17"/>
                <a:gd name="T8" fmla="*/ 28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8"/>
                  </a:cubicBezTo>
                  <a:cubicBezTo>
                    <a:pt x="1" y="13"/>
                    <a:pt x="7" y="17"/>
                    <a:pt x="15" y="17"/>
                  </a:cubicBezTo>
                  <a:cubicBezTo>
                    <a:pt x="23" y="17"/>
                    <a:pt x="29" y="13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8A42E9E8-F604-43FA-801F-6A41F05CA8CE}"/>
                </a:ext>
              </a:extLst>
            </p:cNvPr>
            <p:cNvSpPr/>
            <p:nvPr/>
          </p:nvSpPr>
          <p:spPr bwMode="auto">
            <a:xfrm>
              <a:off x="563051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6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B757A318-C508-4DD3-B7C2-A4AD3AD57B20}"/>
                </a:ext>
              </a:extLst>
            </p:cNvPr>
            <p:cNvSpPr/>
            <p:nvPr/>
          </p:nvSpPr>
          <p:spPr bwMode="auto">
            <a:xfrm>
              <a:off x="575857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5 w 29"/>
                <a:gd name="T3" fmla="*/ 0 h 17"/>
                <a:gd name="T4" fmla="*/ 0 w 29"/>
                <a:gd name="T5" fmla="*/ 9 h 17"/>
                <a:gd name="T6" fmla="*/ 14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3"/>
                    <a:pt x="7" y="17"/>
                    <a:pt x="14" y="17"/>
                  </a:cubicBezTo>
                  <a:cubicBezTo>
                    <a:pt x="22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B38BC34A-0655-4BFD-83D9-904D3DA96BAD}"/>
                </a:ext>
              </a:extLst>
            </p:cNvPr>
            <p:cNvSpPr/>
            <p:nvPr/>
          </p:nvSpPr>
          <p:spPr bwMode="auto">
            <a:xfrm>
              <a:off x="5886643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DC93D587-8857-41F3-8535-0BB45F599833}"/>
                </a:ext>
              </a:extLst>
            </p:cNvPr>
            <p:cNvSpPr/>
            <p:nvPr/>
          </p:nvSpPr>
          <p:spPr bwMode="auto">
            <a:xfrm>
              <a:off x="614894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1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1" y="9"/>
                  </a:cubicBezTo>
                  <a:cubicBezTo>
                    <a:pt x="1" y="13"/>
                    <a:pt x="8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C9F28739-3E29-4531-A762-1AB3E84F67F7}"/>
                </a:ext>
              </a:extLst>
            </p:cNvPr>
            <p:cNvSpPr/>
            <p:nvPr/>
          </p:nvSpPr>
          <p:spPr bwMode="auto">
            <a:xfrm>
              <a:off x="6269294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9C3E7EF4-D60C-4AD6-A23D-D043AE509511}"/>
                </a:ext>
              </a:extLst>
            </p:cNvPr>
            <p:cNvSpPr/>
            <p:nvPr/>
          </p:nvSpPr>
          <p:spPr bwMode="auto">
            <a:xfrm>
              <a:off x="6397358" y="2031003"/>
              <a:ext cx="106464" cy="61718"/>
            </a:xfrm>
            <a:custGeom>
              <a:avLst/>
              <a:gdLst>
                <a:gd name="T0" fmla="*/ 29 w 29"/>
                <a:gd name="T1" fmla="*/ 9 h 17"/>
                <a:gd name="T2" fmla="*/ 14 w 29"/>
                <a:gd name="T3" fmla="*/ 0 h 17"/>
                <a:gd name="T4" fmla="*/ 0 w 29"/>
                <a:gd name="T5" fmla="*/ 9 h 17"/>
                <a:gd name="T6" fmla="*/ 15 w 29"/>
                <a:gd name="T7" fmla="*/ 17 h 17"/>
                <a:gd name="T8" fmla="*/ 29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3"/>
                    <a:pt x="7" y="17"/>
                    <a:pt x="15" y="17"/>
                  </a:cubicBezTo>
                  <a:cubicBezTo>
                    <a:pt x="23" y="17"/>
                    <a:pt x="29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1E71F91E-35B8-43F7-B1D7-D8C551380A82}"/>
                </a:ext>
              </a:extLst>
            </p:cNvPr>
            <p:cNvSpPr/>
            <p:nvPr/>
          </p:nvSpPr>
          <p:spPr bwMode="auto">
            <a:xfrm>
              <a:off x="5627428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1 w 30"/>
                <a:gd name="T5" fmla="*/ 9 h 18"/>
                <a:gd name="T6" fmla="*/ 15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8"/>
                    <a:pt x="15" y="18"/>
                  </a:cubicBezTo>
                  <a:cubicBezTo>
                    <a:pt x="23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8BCB0D9B-4F32-4D29-BD8A-1798CB48AAC0}"/>
                </a:ext>
              </a:extLst>
            </p:cNvPr>
            <p:cNvSpPr/>
            <p:nvPr/>
          </p:nvSpPr>
          <p:spPr bwMode="auto">
            <a:xfrm>
              <a:off x="5758578" y="2108150"/>
              <a:ext cx="106464" cy="64804"/>
            </a:xfrm>
            <a:custGeom>
              <a:avLst/>
              <a:gdLst>
                <a:gd name="T0" fmla="*/ 29 w 29"/>
                <a:gd name="T1" fmla="*/ 9 h 18"/>
                <a:gd name="T2" fmla="*/ 14 w 29"/>
                <a:gd name="T3" fmla="*/ 0 h 18"/>
                <a:gd name="T4" fmla="*/ 0 w 29"/>
                <a:gd name="T5" fmla="*/ 9 h 18"/>
                <a:gd name="T6" fmla="*/ 14 w 29"/>
                <a:gd name="T7" fmla="*/ 18 h 18"/>
                <a:gd name="T8" fmla="*/ 29 w 29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8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椭圆 103">
              <a:extLst>
                <a:ext uri="{FF2B5EF4-FFF2-40B4-BE49-F238E27FC236}">
                  <a16:creationId xmlns:a16="http://schemas.microsoft.com/office/drawing/2014/main" id="{90E1AFD5-DAB5-4434-892D-5D0B8D9B613C}"/>
                </a:ext>
              </a:extLst>
            </p:cNvPr>
            <p:cNvSpPr/>
            <p:nvPr/>
          </p:nvSpPr>
          <p:spPr bwMode="auto">
            <a:xfrm>
              <a:off x="5886643" y="2108150"/>
              <a:ext cx="106464" cy="64804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725E0B00-B6C4-4582-9758-D2F1AF28D6B3}"/>
                </a:ext>
              </a:extLst>
            </p:cNvPr>
            <p:cNvSpPr/>
            <p:nvPr/>
          </p:nvSpPr>
          <p:spPr bwMode="auto">
            <a:xfrm>
              <a:off x="5635142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6" name="椭圆 105">
              <a:extLst>
                <a:ext uri="{FF2B5EF4-FFF2-40B4-BE49-F238E27FC236}">
                  <a16:creationId xmlns:a16="http://schemas.microsoft.com/office/drawing/2014/main" id="{17981489-0421-4D0E-A8D3-B1C101B4C987}"/>
                </a:ext>
              </a:extLst>
            </p:cNvPr>
            <p:cNvSpPr/>
            <p:nvPr/>
          </p:nvSpPr>
          <p:spPr bwMode="auto">
            <a:xfrm>
              <a:off x="5766293" y="2188383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D2F533E9-99FF-4B3C-B916-15DFAEA89AF5}"/>
                </a:ext>
              </a:extLst>
            </p:cNvPr>
            <p:cNvSpPr/>
            <p:nvPr/>
          </p:nvSpPr>
          <p:spPr bwMode="auto">
            <a:xfrm>
              <a:off x="5897443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E5FD9D0E-F828-47CC-81D9-9DC4DB8C1B27}"/>
                </a:ext>
              </a:extLst>
            </p:cNvPr>
            <p:cNvSpPr/>
            <p:nvPr/>
          </p:nvSpPr>
          <p:spPr bwMode="auto">
            <a:xfrm>
              <a:off x="602859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72C7749A-F236-46E8-AD22-F3B3D09432AE}"/>
                </a:ext>
              </a:extLst>
            </p:cNvPr>
            <p:cNvSpPr/>
            <p:nvPr/>
          </p:nvSpPr>
          <p:spPr bwMode="auto">
            <a:xfrm>
              <a:off x="6159744" y="2188383"/>
              <a:ext cx="106464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DF75C1D2-B469-403B-B279-F8B90950E58E}"/>
                </a:ext>
              </a:extLst>
            </p:cNvPr>
            <p:cNvSpPr/>
            <p:nvPr/>
          </p:nvSpPr>
          <p:spPr bwMode="auto">
            <a:xfrm>
              <a:off x="5379013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5 w 30"/>
                <a:gd name="T3" fmla="*/ 0 h 18"/>
                <a:gd name="T4" fmla="*/ 0 w 30"/>
                <a:gd name="T5" fmla="*/ 9 h 18"/>
                <a:gd name="T6" fmla="*/ 14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1" y="4"/>
                    <a:pt x="0" y="9"/>
                  </a:cubicBezTo>
                  <a:cubicBezTo>
                    <a:pt x="0" y="14"/>
                    <a:pt x="6" y="18"/>
                    <a:pt x="14" y="18"/>
                  </a:cubicBezTo>
                  <a:cubicBezTo>
                    <a:pt x="22" y="18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392934AD-D6CE-497B-BCBA-A0564800C4A8}"/>
                </a:ext>
              </a:extLst>
            </p:cNvPr>
            <p:cNvSpPr/>
            <p:nvPr/>
          </p:nvSpPr>
          <p:spPr bwMode="auto">
            <a:xfrm>
              <a:off x="5244777" y="2188383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AA408A9A-63CF-483C-AB98-399489122DE8}"/>
                </a:ext>
              </a:extLst>
            </p:cNvPr>
            <p:cNvSpPr/>
            <p:nvPr/>
          </p:nvSpPr>
          <p:spPr bwMode="auto">
            <a:xfrm>
              <a:off x="5375927" y="2188383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5 w 29"/>
                <a:gd name="T3" fmla="*/ 0 h 19"/>
                <a:gd name="T4" fmla="*/ 0 w 29"/>
                <a:gd name="T5" fmla="*/ 9 h 19"/>
                <a:gd name="T6" fmla="*/ 14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3ECE9CD4-FE46-4C30-9265-2A827B30E670}"/>
                </a:ext>
              </a:extLst>
            </p:cNvPr>
            <p:cNvSpPr/>
            <p:nvPr/>
          </p:nvSpPr>
          <p:spPr bwMode="auto">
            <a:xfrm>
              <a:off x="5237062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ECBA5307-2FD4-428E-8216-34ECF54D4E73}"/>
                </a:ext>
              </a:extLst>
            </p:cNvPr>
            <p:cNvSpPr/>
            <p:nvPr/>
          </p:nvSpPr>
          <p:spPr bwMode="auto">
            <a:xfrm>
              <a:off x="549936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6 w 30"/>
                <a:gd name="T3" fmla="*/ 0 h 19"/>
                <a:gd name="T4" fmla="*/ 1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F30051D7-EA0D-40E4-BB2C-76E5C0559E64}"/>
                </a:ext>
              </a:extLst>
            </p:cNvPr>
            <p:cNvSpPr/>
            <p:nvPr/>
          </p:nvSpPr>
          <p:spPr bwMode="auto">
            <a:xfrm>
              <a:off x="5635142" y="2271702"/>
              <a:ext cx="109550" cy="69433"/>
            </a:xfrm>
            <a:custGeom>
              <a:avLst/>
              <a:gdLst>
                <a:gd name="T0" fmla="*/ 29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4 w 30"/>
                <a:gd name="T7" fmla="*/ 19 h 19"/>
                <a:gd name="T8" fmla="*/ 29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29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6" name="椭圆 115">
              <a:extLst>
                <a:ext uri="{FF2B5EF4-FFF2-40B4-BE49-F238E27FC236}">
                  <a16:creationId xmlns:a16="http://schemas.microsoft.com/office/drawing/2014/main" id="{27901769-585B-453D-A1E3-0EC5B49252BB}"/>
                </a:ext>
              </a:extLst>
            </p:cNvPr>
            <p:cNvSpPr/>
            <p:nvPr/>
          </p:nvSpPr>
          <p:spPr bwMode="auto">
            <a:xfrm>
              <a:off x="5766293" y="2271702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A0F23246-E167-44DD-96BB-8EF094B0CE7E}"/>
                </a:ext>
              </a:extLst>
            </p:cNvPr>
            <p:cNvSpPr/>
            <p:nvPr/>
          </p:nvSpPr>
          <p:spPr bwMode="auto">
            <a:xfrm>
              <a:off x="5897443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77D329BE-551B-4C95-81F5-DA2CB1EE7CE9}"/>
                </a:ext>
              </a:extLst>
            </p:cNvPr>
            <p:cNvSpPr/>
            <p:nvPr/>
          </p:nvSpPr>
          <p:spPr bwMode="auto">
            <a:xfrm>
              <a:off x="6033223" y="2271702"/>
              <a:ext cx="104920" cy="69433"/>
            </a:xfrm>
            <a:custGeom>
              <a:avLst/>
              <a:gdLst>
                <a:gd name="T0" fmla="*/ 29 w 29"/>
                <a:gd name="T1" fmla="*/ 9 h 19"/>
                <a:gd name="T2" fmla="*/ 14 w 29"/>
                <a:gd name="T3" fmla="*/ 0 h 19"/>
                <a:gd name="T4" fmla="*/ 0 w 29"/>
                <a:gd name="T5" fmla="*/ 9 h 19"/>
                <a:gd name="T6" fmla="*/ 15 w 29"/>
                <a:gd name="T7" fmla="*/ 19 h 19"/>
                <a:gd name="T8" fmla="*/ 29 w 2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9">
                  <a:moveTo>
                    <a:pt x="29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29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7590C8B2-EB4A-4129-AFC4-9147F694D792}"/>
                </a:ext>
              </a:extLst>
            </p:cNvPr>
            <p:cNvSpPr/>
            <p:nvPr/>
          </p:nvSpPr>
          <p:spPr bwMode="auto">
            <a:xfrm>
              <a:off x="6164374" y="2271702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4"/>
                    <a:pt x="7" y="19"/>
                    <a:pt x="15" y="19"/>
                  </a:cubicBezTo>
                  <a:cubicBezTo>
                    <a:pt x="23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4663F8CD-D723-4855-A441-713A80BCD519}"/>
                </a:ext>
              </a:extLst>
            </p:cNvPr>
            <p:cNvSpPr/>
            <p:nvPr/>
          </p:nvSpPr>
          <p:spPr bwMode="auto">
            <a:xfrm>
              <a:off x="5360498" y="2356565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6 w 31"/>
                <a:gd name="T3" fmla="*/ 0 h 19"/>
                <a:gd name="T4" fmla="*/ 1 w 31"/>
                <a:gd name="T5" fmla="*/ 9 h 19"/>
                <a:gd name="T6" fmla="*/ 15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1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A5F7DE53-78AE-4CDB-9D82-AD59BBBCEF4F}"/>
                </a:ext>
              </a:extLst>
            </p:cNvPr>
            <p:cNvSpPr/>
            <p:nvPr/>
          </p:nvSpPr>
          <p:spPr bwMode="auto">
            <a:xfrm>
              <a:off x="5496277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6 w 31"/>
                <a:gd name="T3" fmla="*/ 0 h 19"/>
                <a:gd name="T4" fmla="*/ 0 w 31"/>
                <a:gd name="T5" fmla="*/ 9 h 19"/>
                <a:gd name="T6" fmla="*/ 15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8" y="0"/>
                    <a:pt x="1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686BC7B8-EE36-45D2-9A21-1351ACD669EE}"/>
                </a:ext>
              </a:extLst>
            </p:cNvPr>
            <p:cNvSpPr/>
            <p:nvPr/>
          </p:nvSpPr>
          <p:spPr bwMode="auto">
            <a:xfrm>
              <a:off x="5630514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4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3" name="椭圆 122">
              <a:extLst>
                <a:ext uri="{FF2B5EF4-FFF2-40B4-BE49-F238E27FC236}">
                  <a16:creationId xmlns:a16="http://schemas.microsoft.com/office/drawing/2014/main" id="{F3DFD159-6864-4AC1-BCEA-CAF8773D5850}"/>
                </a:ext>
              </a:extLst>
            </p:cNvPr>
            <p:cNvSpPr/>
            <p:nvPr/>
          </p:nvSpPr>
          <p:spPr bwMode="auto">
            <a:xfrm>
              <a:off x="5766293" y="2356565"/>
              <a:ext cx="109550" cy="6943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F35CE7B5-52EB-494C-A761-D093FF8867C5}"/>
                </a:ext>
              </a:extLst>
            </p:cNvPr>
            <p:cNvSpPr/>
            <p:nvPr/>
          </p:nvSpPr>
          <p:spPr bwMode="auto">
            <a:xfrm>
              <a:off x="590052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5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3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5" y="19"/>
                  </a:cubicBezTo>
                  <a:cubicBezTo>
                    <a:pt x="23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35A8D2BA-7426-4BD8-A74F-E460EDBE9A48}"/>
                </a:ext>
              </a:extLst>
            </p:cNvPr>
            <p:cNvSpPr/>
            <p:nvPr/>
          </p:nvSpPr>
          <p:spPr bwMode="auto">
            <a:xfrm>
              <a:off x="6033223" y="2356565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5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7" y="0"/>
                    <a:pt x="0" y="4"/>
                    <a:pt x="0" y="9"/>
                  </a:cubicBezTo>
                  <a:cubicBezTo>
                    <a:pt x="1" y="15"/>
                    <a:pt x="7" y="19"/>
                    <a:pt x="16" y="19"/>
                  </a:cubicBezTo>
                  <a:cubicBezTo>
                    <a:pt x="24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451B89B5-68D7-42B3-A16D-DC136E3C17EE}"/>
                </a:ext>
              </a:extLst>
            </p:cNvPr>
            <p:cNvSpPr/>
            <p:nvPr/>
          </p:nvSpPr>
          <p:spPr bwMode="auto">
            <a:xfrm>
              <a:off x="6167459" y="2356565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5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0" y="15"/>
                    <a:pt x="7" y="19"/>
                    <a:pt x="16" y="19"/>
                  </a:cubicBezTo>
                  <a:cubicBezTo>
                    <a:pt x="24" y="19"/>
                    <a:pt x="30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195C82B6-6E0F-417F-A771-1A03834E0FAF}"/>
                </a:ext>
              </a:extLst>
            </p:cNvPr>
            <p:cNvSpPr/>
            <p:nvPr/>
          </p:nvSpPr>
          <p:spPr bwMode="auto">
            <a:xfrm>
              <a:off x="521854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2" y="5"/>
                    <a:pt x="25" y="0"/>
                    <a:pt x="17" y="0"/>
                  </a:cubicBezTo>
                  <a:cubicBezTo>
                    <a:pt x="9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D8C84C4E-E4EE-4F55-A556-3D581400F357}"/>
                </a:ext>
              </a:extLst>
            </p:cNvPr>
            <p:cNvSpPr/>
            <p:nvPr/>
          </p:nvSpPr>
          <p:spPr bwMode="auto">
            <a:xfrm>
              <a:off x="5357412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49D3D252-59B4-43F8-AF9E-2144D149F7D4}"/>
                </a:ext>
              </a:extLst>
            </p:cNvPr>
            <p:cNvSpPr/>
            <p:nvPr/>
          </p:nvSpPr>
          <p:spPr bwMode="auto">
            <a:xfrm>
              <a:off x="5493191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62713D8F-EA53-47D6-8E06-02B99D18B555}"/>
                </a:ext>
              </a:extLst>
            </p:cNvPr>
            <p:cNvSpPr/>
            <p:nvPr/>
          </p:nvSpPr>
          <p:spPr bwMode="auto">
            <a:xfrm>
              <a:off x="5627428" y="2439884"/>
              <a:ext cx="112636" cy="74061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1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5"/>
                    <a:pt x="24" y="0"/>
                    <a:pt x="16" y="0"/>
                  </a:cubicBezTo>
                  <a:cubicBezTo>
                    <a:pt x="8" y="0"/>
                    <a:pt x="1" y="5"/>
                    <a:pt x="1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D0859946-97BF-41D9-802D-9B64A3303DAA}"/>
                </a:ext>
              </a:extLst>
            </p:cNvPr>
            <p:cNvSpPr/>
            <p:nvPr/>
          </p:nvSpPr>
          <p:spPr bwMode="auto">
            <a:xfrm>
              <a:off x="5766293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3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A13FE67D-1A8B-4A29-9D3B-49ED1181DB5A}"/>
                </a:ext>
              </a:extLst>
            </p:cNvPr>
            <p:cNvSpPr/>
            <p:nvPr/>
          </p:nvSpPr>
          <p:spPr bwMode="auto">
            <a:xfrm>
              <a:off x="5900529" y="2439884"/>
              <a:ext cx="109550" cy="74061"/>
            </a:xfrm>
            <a:custGeom>
              <a:avLst/>
              <a:gdLst>
                <a:gd name="T0" fmla="*/ 30 w 30"/>
                <a:gd name="T1" fmla="*/ 10 h 20"/>
                <a:gd name="T2" fmla="*/ 15 w 30"/>
                <a:gd name="T3" fmla="*/ 0 h 20"/>
                <a:gd name="T4" fmla="*/ 0 w 30"/>
                <a:gd name="T5" fmla="*/ 10 h 20"/>
                <a:gd name="T6" fmla="*/ 15 w 30"/>
                <a:gd name="T7" fmla="*/ 20 h 20"/>
                <a:gd name="T8" fmla="*/ 30 w 30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0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A5263D8D-6CDB-4512-9E56-A242229FECB7}"/>
                </a:ext>
              </a:extLst>
            </p:cNvPr>
            <p:cNvSpPr/>
            <p:nvPr/>
          </p:nvSpPr>
          <p:spPr bwMode="auto">
            <a:xfrm>
              <a:off x="6036308" y="2439884"/>
              <a:ext cx="112636" cy="74061"/>
            </a:xfrm>
            <a:custGeom>
              <a:avLst/>
              <a:gdLst>
                <a:gd name="T0" fmla="*/ 30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0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0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1" y="16"/>
                    <a:pt x="30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99B7302C-D198-4701-BEF9-3377112FC605}"/>
                </a:ext>
              </a:extLst>
            </p:cNvPr>
            <p:cNvSpPr/>
            <p:nvPr/>
          </p:nvSpPr>
          <p:spPr bwMode="auto">
            <a:xfrm>
              <a:off x="6170545" y="2439884"/>
              <a:ext cx="114178" cy="74061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5"/>
                    <a:pt x="23" y="0"/>
                    <a:pt x="15" y="0"/>
                  </a:cubicBezTo>
                  <a:cubicBezTo>
                    <a:pt x="7" y="0"/>
                    <a:pt x="0" y="5"/>
                    <a:pt x="0" y="10"/>
                  </a:cubicBezTo>
                  <a:cubicBezTo>
                    <a:pt x="1" y="16"/>
                    <a:pt x="8" y="20"/>
                    <a:pt x="16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A68DD785-071F-4F2D-B63E-1C5B655DD910}"/>
                </a:ext>
              </a:extLst>
            </p:cNvPr>
            <p:cNvSpPr/>
            <p:nvPr/>
          </p:nvSpPr>
          <p:spPr bwMode="auto">
            <a:xfrm>
              <a:off x="5210833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5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5" y="0"/>
                    <a:pt x="17" y="0"/>
                  </a:cubicBezTo>
                  <a:cubicBezTo>
                    <a:pt x="9" y="0"/>
                    <a:pt x="1" y="4"/>
                    <a:pt x="1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06EE6939-4776-4EBD-8CAD-60B9A753BEBC}"/>
                </a:ext>
              </a:extLst>
            </p:cNvPr>
            <p:cNvSpPr/>
            <p:nvPr/>
          </p:nvSpPr>
          <p:spPr bwMode="auto">
            <a:xfrm>
              <a:off x="5349698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5" y="0"/>
                    <a:pt x="16" y="0"/>
                  </a:cubicBezTo>
                  <a:cubicBezTo>
                    <a:pt x="8" y="0"/>
                    <a:pt x="1" y="4"/>
                    <a:pt x="0" y="10"/>
                  </a:cubicBezTo>
                  <a:cubicBezTo>
                    <a:pt x="0" y="15"/>
                    <a:pt x="7" y="20"/>
                    <a:pt x="15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C651DBEA-5230-4F41-9BE5-8A68B7A7E7A6}"/>
                </a:ext>
              </a:extLst>
            </p:cNvPr>
            <p:cNvSpPr/>
            <p:nvPr/>
          </p:nvSpPr>
          <p:spPr bwMode="auto">
            <a:xfrm>
              <a:off x="6039394" y="2532461"/>
              <a:ext cx="114178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0" y="15"/>
                    <a:pt x="7" y="20"/>
                    <a:pt x="16" y="20"/>
                  </a:cubicBezTo>
                  <a:cubicBezTo>
                    <a:pt x="24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506DCDA8-0FAB-462B-BC49-F0EA18CB7210}"/>
                </a:ext>
              </a:extLst>
            </p:cNvPr>
            <p:cNvSpPr/>
            <p:nvPr/>
          </p:nvSpPr>
          <p:spPr bwMode="auto">
            <a:xfrm>
              <a:off x="6175174" y="2532461"/>
              <a:ext cx="115721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6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43DD88BB-36EB-4DD6-BDEF-039C05FA89EA}"/>
                </a:ext>
              </a:extLst>
            </p:cNvPr>
            <p:cNvSpPr/>
            <p:nvPr/>
          </p:nvSpPr>
          <p:spPr bwMode="auto">
            <a:xfrm>
              <a:off x="6314039" y="2532461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5 w 31"/>
                <a:gd name="T3" fmla="*/ 0 h 20"/>
                <a:gd name="T4" fmla="*/ 0 w 31"/>
                <a:gd name="T5" fmla="*/ 10 h 20"/>
                <a:gd name="T6" fmla="*/ 16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5"/>
                    <a:pt x="8" y="20"/>
                    <a:pt x="16" y="20"/>
                  </a:cubicBezTo>
                  <a:cubicBezTo>
                    <a:pt x="25" y="20"/>
                    <a:pt x="31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5C1F3F39-84F7-4714-9A48-B757924AD57D}"/>
                </a:ext>
              </a:extLst>
            </p:cNvPr>
            <p:cNvSpPr/>
            <p:nvPr/>
          </p:nvSpPr>
          <p:spPr bwMode="auto">
            <a:xfrm>
              <a:off x="6448276" y="2532461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E43BF4DC-9A54-4DB6-BB7E-0AAD248BB642}"/>
                </a:ext>
              </a:extLst>
            </p:cNvPr>
            <p:cNvSpPr/>
            <p:nvPr/>
          </p:nvSpPr>
          <p:spPr bwMode="auto">
            <a:xfrm>
              <a:off x="9228665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8"/>
                    <a:pt x="15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926C1B5E-8BBE-4E2E-A1E0-69DBA6B03F22}"/>
                </a:ext>
              </a:extLst>
            </p:cNvPr>
            <p:cNvSpPr/>
            <p:nvPr/>
          </p:nvSpPr>
          <p:spPr bwMode="auto">
            <a:xfrm>
              <a:off x="9324328" y="3112609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14 w 39"/>
                <a:gd name="T3" fmla="*/ 0 h 24"/>
                <a:gd name="T4" fmla="*/ 3 w 39"/>
                <a:gd name="T5" fmla="*/ 12 h 24"/>
                <a:gd name="T6" fmla="*/ 2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4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48AEF0F5-78AF-4C4D-BEA1-A9BCA5DE3689}"/>
                </a:ext>
              </a:extLst>
            </p:cNvPr>
            <p:cNvSpPr/>
            <p:nvPr/>
          </p:nvSpPr>
          <p:spPr bwMode="auto">
            <a:xfrm>
              <a:off x="8717950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3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DB5FFECF-4357-48B8-9ED6-2D04924CA711}"/>
                </a:ext>
              </a:extLst>
            </p:cNvPr>
            <p:cNvSpPr/>
            <p:nvPr/>
          </p:nvSpPr>
          <p:spPr bwMode="auto">
            <a:xfrm>
              <a:off x="8842929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C1BB45D3-88EF-44FB-BE84-FD500B6DB34E}"/>
                </a:ext>
              </a:extLst>
            </p:cNvPr>
            <p:cNvSpPr/>
            <p:nvPr/>
          </p:nvSpPr>
          <p:spPr bwMode="auto">
            <a:xfrm>
              <a:off x="9210150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C13B0C1C-9B49-4E6D-A83A-85A65BC551A7}"/>
                </a:ext>
              </a:extLst>
            </p:cNvPr>
            <p:cNvSpPr/>
            <p:nvPr/>
          </p:nvSpPr>
          <p:spPr bwMode="auto">
            <a:xfrm>
              <a:off x="933512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19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2AABF174-3D20-450D-BEB1-A87B5C4EFCF7}"/>
                </a:ext>
              </a:extLst>
            </p:cNvPr>
            <p:cNvSpPr/>
            <p:nvPr/>
          </p:nvSpPr>
          <p:spPr bwMode="auto">
            <a:xfrm>
              <a:off x="6466791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D8E00C56-3D0A-4DBF-A664-6AABF1B27DE4}"/>
                </a:ext>
              </a:extLst>
            </p:cNvPr>
            <p:cNvSpPr/>
            <p:nvPr/>
          </p:nvSpPr>
          <p:spPr bwMode="auto">
            <a:xfrm>
              <a:off x="6550110" y="2188383"/>
              <a:ext cx="109550" cy="69433"/>
            </a:xfrm>
            <a:custGeom>
              <a:avLst/>
              <a:gdLst>
                <a:gd name="T0" fmla="*/ 30 w 30"/>
                <a:gd name="T1" fmla="*/ 9 h 19"/>
                <a:gd name="T2" fmla="*/ 14 w 30"/>
                <a:gd name="T3" fmla="*/ 0 h 19"/>
                <a:gd name="T4" fmla="*/ 0 w 30"/>
                <a:gd name="T5" fmla="*/ 9 h 19"/>
                <a:gd name="T6" fmla="*/ 16 w 30"/>
                <a:gd name="T7" fmla="*/ 19 h 19"/>
                <a:gd name="T8" fmla="*/ 30 w 30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6" y="19"/>
                  </a:cubicBezTo>
                  <a:cubicBezTo>
                    <a:pt x="24" y="19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D2EDF1A9-700C-436C-859A-78311D195A8B}"/>
                </a:ext>
              </a:extLst>
            </p:cNvPr>
            <p:cNvSpPr/>
            <p:nvPr/>
          </p:nvSpPr>
          <p:spPr bwMode="auto">
            <a:xfrm>
              <a:off x="6699775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5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9" y="19"/>
                    <a:pt x="17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3DBC7814-F03D-4078-BE05-358EFB90FDA4}"/>
                </a:ext>
              </a:extLst>
            </p:cNvPr>
            <p:cNvSpPr/>
            <p:nvPr/>
          </p:nvSpPr>
          <p:spPr bwMode="auto">
            <a:xfrm>
              <a:off x="6568626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6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8" y="19"/>
                    <a:pt x="16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A1A4223F-1540-4584-BFC8-E2813F850417}"/>
                </a:ext>
              </a:extLst>
            </p:cNvPr>
            <p:cNvSpPr/>
            <p:nvPr/>
          </p:nvSpPr>
          <p:spPr bwMode="auto">
            <a:xfrm>
              <a:off x="671057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5"/>
                    <a:pt x="23" y="0"/>
                    <a:pt x="15" y="0"/>
                  </a:cubicBezTo>
                  <a:cubicBezTo>
                    <a:pt x="7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06E0771B-5523-4D2C-BF68-A75AB1357FE3}"/>
                </a:ext>
              </a:extLst>
            </p:cNvPr>
            <p:cNvSpPr/>
            <p:nvPr/>
          </p:nvSpPr>
          <p:spPr bwMode="auto">
            <a:xfrm>
              <a:off x="6587141" y="2532461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1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5"/>
                    <a:pt x="9" y="20"/>
                    <a:pt x="17" y="20"/>
                  </a:cubicBezTo>
                  <a:cubicBezTo>
                    <a:pt x="26" y="20"/>
                    <a:pt x="32" y="15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F6D87D82-6AEE-4A29-BE5E-F0EE73683604}"/>
                </a:ext>
              </a:extLst>
            </p:cNvPr>
            <p:cNvSpPr/>
            <p:nvPr/>
          </p:nvSpPr>
          <p:spPr bwMode="auto">
            <a:xfrm>
              <a:off x="6722920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4" y="0"/>
                    <a:pt x="15" y="0"/>
                  </a:cubicBezTo>
                  <a:cubicBezTo>
                    <a:pt x="7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84413848-0C04-4046-908B-460E5DBE48BC}"/>
                </a:ext>
              </a:extLst>
            </p:cNvPr>
            <p:cNvSpPr/>
            <p:nvPr/>
          </p:nvSpPr>
          <p:spPr bwMode="auto">
            <a:xfrm>
              <a:off x="686024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9" y="20"/>
                    <a:pt x="18" y="20"/>
                  </a:cubicBezTo>
                  <a:cubicBezTo>
                    <a:pt x="26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E897A43D-3A9D-4949-80A5-137EAD9028B4}"/>
                </a:ext>
              </a:extLst>
            </p:cNvPr>
            <p:cNvSpPr/>
            <p:nvPr/>
          </p:nvSpPr>
          <p:spPr bwMode="auto">
            <a:xfrm>
              <a:off x="6597941" y="2623494"/>
              <a:ext cx="117264" cy="72519"/>
            </a:xfrm>
            <a:custGeom>
              <a:avLst/>
              <a:gdLst>
                <a:gd name="T0" fmla="*/ 31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8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95BB480E-F688-4348-A48D-110B792C7F37}"/>
                </a:ext>
              </a:extLst>
            </p:cNvPr>
            <p:cNvSpPr/>
            <p:nvPr/>
          </p:nvSpPr>
          <p:spPr bwMode="auto">
            <a:xfrm>
              <a:off x="6736806" y="2623494"/>
              <a:ext cx="117264" cy="72519"/>
            </a:xfrm>
            <a:custGeom>
              <a:avLst/>
              <a:gdLst>
                <a:gd name="T0" fmla="*/ 32 w 32"/>
                <a:gd name="T1" fmla="*/ 10 h 20"/>
                <a:gd name="T2" fmla="*/ 15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597FC7C4-24D8-4F06-8D9F-2E7787F6108E}"/>
                </a:ext>
              </a:extLst>
            </p:cNvPr>
            <p:cNvSpPr/>
            <p:nvPr/>
          </p:nvSpPr>
          <p:spPr bwMode="auto">
            <a:xfrm>
              <a:off x="6875671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1" y="16"/>
                    <a:pt x="9" y="20"/>
                    <a:pt x="18" y="20"/>
                  </a:cubicBezTo>
                  <a:cubicBezTo>
                    <a:pt x="26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4484CD91-29E7-47F9-A491-544D70698876}"/>
                </a:ext>
              </a:extLst>
            </p:cNvPr>
            <p:cNvSpPr/>
            <p:nvPr/>
          </p:nvSpPr>
          <p:spPr bwMode="auto">
            <a:xfrm>
              <a:off x="7014537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C565A66B-7F0D-403B-937E-DC8EE7F37138}"/>
                </a:ext>
              </a:extLst>
            </p:cNvPr>
            <p:cNvSpPr/>
            <p:nvPr/>
          </p:nvSpPr>
          <p:spPr bwMode="auto">
            <a:xfrm>
              <a:off x="6605656" y="2714528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69828CB7-2CCD-409B-9D3D-AFE21EADCB9F}"/>
                </a:ext>
              </a:extLst>
            </p:cNvPr>
            <p:cNvSpPr/>
            <p:nvPr/>
          </p:nvSpPr>
          <p:spPr bwMode="auto">
            <a:xfrm>
              <a:off x="6747607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5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746675F5-F14D-41F9-810E-D3E9C64692A5}"/>
                </a:ext>
              </a:extLst>
            </p:cNvPr>
            <p:cNvSpPr/>
            <p:nvPr/>
          </p:nvSpPr>
          <p:spPr bwMode="auto">
            <a:xfrm>
              <a:off x="688647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7E1AE70C-8E4E-43C3-A094-DCDAF45F725F}"/>
                </a:ext>
              </a:extLst>
            </p:cNvPr>
            <p:cNvSpPr/>
            <p:nvPr/>
          </p:nvSpPr>
          <p:spPr bwMode="auto">
            <a:xfrm>
              <a:off x="7028424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D64637E8-8D8C-442E-8C0A-EB983B3535F8}"/>
                </a:ext>
              </a:extLst>
            </p:cNvPr>
            <p:cNvSpPr/>
            <p:nvPr/>
          </p:nvSpPr>
          <p:spPr bwMode="auto">
            <a:xfrm>
              <a:off x="661645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8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9" y="22"/>
                    <a:pt x="18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EC52D36B-D369-4252-BDE3-0626505D30AA}"/>
                </a:ext>
              </a:extLst>
            </p:cNvPr>
            <p:cNvSpPr/>
            <p:nvPr/>
          </p:nvSpPr>
          <p:spPr bwMode="auto">
            <a:xfrm>
              <a:off x="6758407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1CB189C1-8097-440B-BE14-A28EA4C334FF}"/>
                </a:ext>
              </a:extLst>
            </p:cNvPr>
            <p:cNvSpPr/>
            <p:nvPr/>
          </p:nvSpPr>
          <p:spPr bwMode="auto">
            <a:xfrm>
              <a:off x="6900359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6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B2150C9D-B50E-49D8-A921-29CD7DC10867}"/>
                </a:ext>
              </a:extLst>
            </p:cNvPr>
            <p:cNvSpPr/>
            <p:nvPr/>
          </p:nvSpPr>
          <p:spPr bwMode="auto">
            <a:xfrm>
              <a:off x="662725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03C80DED-9DE2-4092-8936-7939825F255E}"/>
                </a:ext>
              </a:extLst>
            </p:cNvPr>
            <p:cNvSpPr/>
            <p:nvPr/>
          </p:nvSpPr>
          <p:spPr bwMode="auto">
            <a:xfrm>
              <a:off x="6773837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DD99A9C1-F9EA-483C-A0C4-6DB7BAF2D69D}"/>
                </a:ext>
              </a:extLst>
            </p:cNvPr>
            <p:cNvSpPr/>
            <p:nvPr/>
          </p:nvSpPr>
          <p:spPr bwMode="auto">
            <a:xfrm>
              <a:off x="6915788" y="2907396"/>
              <a:ext cx="128065" cy="84863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F0B2ADC1-2887-4347-B7C9-34CEE92BCEC4}"/>
                </a:ext>
              </a:extLst>
            </p:cNvPr>
            <p:cNvSpPr/>
            <p:nvPr/>
          </p:nvSpPr>
          <p:spPr bwMode="auto">
            <a:xfrm>
              <a:off x="7060825" y="2907396"/>
              <a:ext cx="128065" cy="84863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13A5B373-3FC2-458E-B8F9-BD922EF47FDE}"/>
                </a:ext>
              </a:extLst>
            </p:cNvPr>
            <p:cNvSpPr/>
            <p:nvPr/>
          </p:nvSpPr>
          <p:spPr bwMode="auto">
            <a:xfrm>
              <a:off x="7207405" y="2907396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5 w 34"/>
                <a:gd name="T3" fmla="*/ 0 h 23"/>
                <a:gd name="T4" fmla="*/ 1 w 34"/>
                <a:gd name="T5" fmla="*/ 11 h 23"/>
                <a:gd name="T6" fmla="*/ 19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7B9CD21-F00D-4B98-B892-F14AEF86B5B1}"/>
                </a:ext>
              </a:extLst>
            </p:cNvPr>
            <p:cNvSpPr/>
            <p:nvPr/>
          </p:nvSpPr>
          <p:spPr bwMode="auto">
            <a:xfrm>
              <a:off x="6784638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87DF067D-384D-499B-B8C5-5688D47AC0A0}"/>
                </a:ext>
              </a:extLst>
            </p:cNvPr>
            <p:cNvSpPr/>
            <p:nvPr/>
          </p:nvSpPr>
          <p:spPr bwMode="auto">
            <a:xfrm>
              <a:off x="6929675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6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973A4EF6-DDE0-4A8D-B246-E54CDC1F424B}"/>
                </a:ext>
              </a:extLst>
            </p:cNvPr>
            <p:cNvSpPr/>
            <p:nvPr/>
          </p:nvSpPr>
          <p:spPr bwMode="auto">
            <a:xfrm>
              <a:off x="7079340" y="3010774"/>
              <a:ext cx="128065" cy="83319"/>
            </a:xfrm>
            <a:custGeom>
              <a:avLst/>
              <a:gdLst>
                <a:gd name="T0" fmla="*/ 33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19 w 35"/>
                <a:gd name="T7" fmla="*/ 23 h 23"/>
                <a:gd name="T8" fmla="*/ 33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19" y="23"/>
                  </a:cubicBezTo>
                  <a:cubicBezTo>
                    <a:pt x="28" y="23"/>
                    <a:pt x="35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D600C7E4-C28F-4A60-9A76-EA861CD74284}"/>
                </a:ext>
              </a:extLst>
            </p:cNvPr>
            <p:cNvSpPr/>
            <p:nvPr/>
          </p:nvSpPr>
          <p:spPr bwMode="auto">
            <a:xfrm>
              <a:off x="7225921" y="3010774"/>
              <a:ext cx="128065" cy="83319"/>
            </a:xfrm>
            <a:custGeom>
              <a:avLst/>
              <a:gdLst>
                <a:gd name="T0" fmla="*/ 34 w 35"/>
                <a:gd name="T1" fmla="*/ 11 h 23"/>
                <a:gd name="T2" fmla="*/ 15 w 35"/>
                <a:gd name="T3" fmla="*/ 0 h 23"/>
                <a:gd name="T4" fmla="*/ 1 w 35"/>
                <a:gd name="T5" fmla="*/ 11 h 23"/>
                <a:gd name="T6" fmla="*/ 20 w 35"/>
                <a:gd name="T7" fmla="*/ 23 h 23"/>
                <a:gd name="T8" fmla="*/ 34 w 35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8"/>
                    <a:pt x="10" y="23"/>
                    <a:pt x="20" y="23"/>
                  </a:cubicBezTo>
                  <a:cubicBezTo>
                    <a:pt x="29" y="23"/>
                    <a:pt x="35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994D3E70-1A26-4583-8575-B9178D02E3AD}"/>
                </a:ext>
              </a:extLst>
            </p:cNvPr>
            <p:cNvSpPr/>
            <p:nvPr/>
          </p:nvSpPr>
          <p:spPr bwMode="auto">
            <a:xfrm>
              <a:off x="7664118" y="3010774"/>
              <a:ext cx="131151" cy="83319"/>
            </a:xfrm>
            <a:custGeom>
              <a:avLst/>
              <a:gdLst>
                <a:gd name="T0" fmla="*/ 35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5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61B8DD79-87CE-4A2D-A62F-E4D8071886A6}"/>
                </a:ext>
              </a:extLst>
            </p:cNvPr>
            <p:cNvSpPr/>
            <p:nvPr/>
          </p:nvSpPr>
          <p:spPr bwMode="auto">
            <a:xfrm>
              <a:off x="679852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A1D26849-DBFD-4498-B2F8-A2E2705AE203}"/>
                </a:ext>
              </a:extLst>
            </p:cNvPr>
            <p:cNvSpPr/>
            <p:nvPr/>
          </p:nvSpPr>
          <p:spPr bwMode="auto">
            <a:xfrm>
              <a:off x="694819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5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5" y="0"/>
                  </a:cubicBezTo>
                  <a:cubicBezTo>
                    <a:pt x="6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25C99162-496D-4D20-B819-AB0B627C265C}"/>
                </a:ext>
              </a:extLst>
            </p:cNvPr>
            <p:cNvSpPr/>
            <p:nvPr/>
          </p:nvSpPr>
          <p:spPr bwMode="auto">
            <a:xfrm>
              <a:off x="763788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0F8F9DA7-02F8-4060-A18F-5068BF719E39}"/>
                </a:ext>
              </a:extLst>
            </p:cNvPr>
            <p:cNvSpPr/>
            <p:nvPr/>
          </p:nvSpPr>
          <p:spPr bwMode="auto">
            <a:xfrm>
              <a:off x="7784467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1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8"/>
                    <a:pt x="12" y="23"/>
                    <a:pt x="21" y="23"/>
                  </a:cubicBezTo>
                  <a:cubicBezTo>
                    <a:pt x="30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9A9A3FB8-193F-445C-8E9E-C6478EBD8005}"/>
                </a:ext>
              </a:extLst>
            </p:cNvPr>
            <p:cNvSpPr/>
            <p:nvPr/>
          </p:nvSpPr>
          <p:spPr bwMode="auto">
            <a:xfrm>
              <a:off x="7926418" y="2907396"/>
              <a:ext cx="134237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3E877685-1087-4490-A6B1-8545E2AFB104}"/>
                </a:ext>
              </a:extLst>
            </p:cNvPr>
            <p:cNvSpPr/>
            <p:nvPr/>
          </p:nvSpPr>
          <p:spPr bwMode="auto">
            <a:xfrm>
              <a:off x="8072998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5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44274CD6-8D7A-4696-BA8B-6319DC9388CC}"/>
                </a:ext>
              </a:extLst>
            </p:cNvPr>
            <p:cNvSpPr/>
            <p:nvPr/>
          </p:nvSpPr>
          <p:spPr bwMode="auto">
            <a:xfrm>
              <a:off x="8218035" y="2907396"/>
              <a:ext cx="131151" cy="84863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2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735850BB-8754-4983-B4E4-271E5D981F6D}"/>
                </a:ext>
              </a:extLst>
            </p:cNvPr>
            <p:cNvSpPr/>
            <p:nvPr/>
          </p:nvSpPr>
          <p:spPr bwMode="auto">
            <a:xfrm>
              <a:off x="835998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69D1AD75-500F-418C-916B-D8567ED4D3F4}"/>
                </a:ext>
              </a:extLst>
            </p:cNvPr>
            <p:cNvSpPr/>
            <p:nvPr/>
          </p:nvSpPr>
          <p:spPr bwMode="auto">
            <a:xfrm>
              <a:off x="8506566" y="2907396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DDF20F54-63CB-4E66-8894-BD8FB6941AA2}"/>
                </a:ext>
              </a:extLst>
            </p:cNvPr>
            <p:cNvSpPr/>
            <p:nvPr/>
          </p:nvSpPr>
          <p:spPr bwMode="auto">
            <a:xfrm>
              <a:off x="864851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5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5C5A1BD0-2A68-4E24-A0A9-8406F709F0C9}"/>
                </a:ext>
              </a:extLst>
            </p:cNvPr>
            <p:cNvSpPr/>
            <p:nvPr/>
          </p:nvSpPr>
          <p:spPr bwMode="auto">
            <a:xfrm>
              <a:off x="8795097" y="2907396"/>
              <a:ext cx="138865" cy="84863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4DE41012-C360-4B56-ADDE-AD70C2549F68}"/>
                </a:ext>
              </a:extLst>
            </p:cNvPr>
            <p:cNvSpPr/>
            <p:nvPr/>
          </p:nvSpPr>
          <p:spPr bwMode="auto">
            <a:xfrm>
              <a:off x="7134886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5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9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99464A65-28E4-44D2-A079-EE18A8733251}"/>
                </a:ext>
              </a:extLst>
            </p:cNvPr>
            <p:cNvSpPr/>
            <p:nvPr/>
          </p:nvSpPr>
          <p:spPr bwMode="auto">
            <a:xfrm>
              <a:off x="7273752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5"/>
                    <a:pt x="10" y="20"/>
                    <a:pt x="18" y="20"/>
                  </a:cubicBezTo>
                  <a:cubicBezTo>
                    <a:pt x="27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BB6A03B5-1FAB-4E7D-B6F6-0F598DFFCF7D}"/>
                </a:ext>
              </a:extLst>
            </p:cNvPr>
            <p:cNvSpPr/>
            <p:nvPr/>
          </p:nvSpPr>
          <p:spPr bwMode="auto">
            <a:xfrm>
              <a:off x="7407988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5 w 34"/>
                <a:gd name="T3" fmla="*/ 0 h 20"/>
                <a:gd name="T4" fmla="*/ 2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5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65F672C8-D3D9-4DE6-B376-F42234012E86}"/>
                </a:ext>
              </a:extLst>
            </p:cNvPr>
            <p:cNvSpPr/>
            <p:nvPr/>
          </p:nvSpPr>
          <p:spPr bwMode="auto">
            <a:xfrm>
              <a:off x="7546854" y="2532461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5"/>
                    <a:pt x="11" y="20"/>
                    <a:pt x="19" y="20"/>
                  </a:cubicBezTo>
                  <a:cubicBezTo>
                    <a:pt x="28" y="20"/>
                    <a:pt x="33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4D3EC9DC-8CD6-49AB-84D0-5FE6A7A1DFA7}"/>
                </a:ext>
              </a:extLst>
            </p:cNvPr>
            <p:cNvSpPr/>
            <p:nvPr/>
          </p:nvSpPr>
          <p:spPr bwMode="auto">
            <a:xfrm>
              <a:off x="7682633" y="2532461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9" y="20"/>
                    <a:pt x="34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2F641FF4-DEBD-4572-8121-8C95A444A43D}"/>
                </a:ext>
              </a:extLst>
            </p:cNvPr>
            <p:cNvSpPr/>
            <p:nvPr/>
          </p:nvSpPr>
          <p:spPr bwMode="auto">
            <a:xfrm>
              <a:off x="7819955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86BCF9EB-992C-4542-88EB-28BEB0403D17}"/>
                </a:ext>
              </a:extLst>
            </p:cNvPr>
            <p:cNvSpPr/>
            <p:nvPr/>
          </p:nvSpPr>
          <p:spPr bwMode="auto">
            <a:xfrm>
              <a:off x="7958820" y="2532461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10"/>
                  </a:cubicBezTo>
                  <a:cubicBezTo>
                    <a:pt x="3" y="15"/>
                    <a:pt x="11" y="20"/>
                    <a:pt x="20" y="20"/>
                  </a:cubicBezTo>
                  <a:cubicBezTo>
                    <a:pt x="28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D3E4C5CA-D505-4AC5-A292-643B449ABDDE}"/>
                </a:ext>
              </a:extLst>
            </p:cNvPr>
            <p:cNvSpPr/>
            <p:nvPr/>
          </p:nvSpPr>
          <p:spPr bwMode="auto">
            <a:xfrm>
              <a:off x="8094599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2" y="20"/>
                    <a:pt x="21" y="20"/>
                  </a:cubicBezTo>
                  <a:cubicBezTo>
                    <a:pt x="29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E267B01B-6FB0-4410-9E77-83BF88325EBB}"/>
                </a:ext>
              </a:extLst>
            </p:cNvPr>
            <p:cNvSpPr/>
            <p:nvPr/>
          </p:nvSpPr>
          <p:spPr bwMode="auto">
            <a:xfrm>
              <a:off x="8233464" y="2532461"/>
              <a:ext cx="123436" cy="72519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3" y="15"/>
                    <a:pt x="12" y="20"/>
                    <a:pt x="21" y="20"/>
                  </a:cubicBezTo>
                  <a:cubicBezTo>
                    <a:pt x="29" y="20"/>
                    <a:pt x="34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78429F15-44B5-4123-938E-A14E586CD775}"/>
                </a:ext>
              </a:extLst>
            </p:cNvPr>
            <p:cNvSpPr/>
            <p:nvPr/>
          </p:nvSpPr>
          <p:spPr bwMode="auto">
            <a:xfrm>
              <a:off x="8367701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B9AC7598-1DDD-4C1F-A817-ACA46BA671BA}"/>
                </a:ext>
              </a:extLst>
            </p:cNvPr>
            <p:cNvSpPr/>
            <p:nvPr/>
          </p:nvSpPr>
          <p:spPr bwMode="auto">
            <a:xfrm>
              <a:off x="8506566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4" y="15"/>
                    <a:pt x="13" y="20"/>
                    <a:pt x="21" y="20"/>
                  </a:cubicBezTo>
                  <a:cubicBezTo>
                    <a:pt x="30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952AAC16-9EC4-4CB0-BCCE-A0D6425A22E5}"/>
                </a:ext>
              </a:extLst>
            </p:cNvPr>
            <p:cNvSpPr/>
            <p:nvPr/>
          </p:nvSpPr>
          <p:spPr bwMode="auto">
            <a:xfrm>
              <a:off x="8642346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2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7A773276-D5B3-4BE1-8187-4503E5139752}"/>
                </a:ext>
              </a:extLst>
            </p:cNvPr>
            <p:cNvSpPr/>
            <p:nvPr/>
          </p:nvSpPr>
          <p:spPr bwMode="auto">
            <a:xfrm>
              <a:off x="7153402" y="2623494"/>
              <a:ext cx="120350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8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0" name="任意多边形: 形状 199">
              <a:extLst>
                <a:ext uri="{FF2B5EF4-FFF2-40B4-BE49-F238E27FC236}">
                  <a16:creationId xmlns:a16="http://schemas.microsoft.com/office/drawing/2014/main" id="{762592B3-4AD7-402E-9742-6F6B966B6953}"/>
                </a:ext>
              </a:extLst>
            </p:cNvPr>
            <p:cNvSpPr/>
            <p:nvPr/>
          </p:nvSpPr>
          <p:spPr bwMode="auto">
            <a:xfrm>
              <a:off x="7290725" y="2623494"/>
              <a:ext cx="121893" cy="72519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1" name="任意多边形: 形状 200">
              <a:extLst>
                <a:ext uri="{FF2B5EF4-FFF2-40B4-BE49-F238E27FC236}">
                  <a16:creationId xmlns:a16="http://schemas.microsoft.com/office/drawing/2014/main" id="{41B0ACC2-4C27-46BE-8FB6-F7F00C631366}"/>
                </a:ext>
              </a:extLst>
            </p:cNvPr>
            <p:cNvSpPr/>
            <p:nvPr/>
          </p:nvSpPr>
          <p:spPr bwMode="auto">
            <a:xfrm>
              <a:off x="7429590" y="2623494"/>
              <a:ext cx="124979" cy="72519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19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2" y="16"/>
                    <a:pt x="11" y="20"/>
                    <a:pt x="19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2" name="任意多边形: 形状 201">
              <a:extLst>
                <a:ext uri="{FF2B5EF4-FFF2-40B4-BE49-F238E27FC236}">
                  <a16:creationId xmlns:a16="http://schemas.microsoft.com/office/drawing/2014/main" id="{24DE536E-7E16-470F-A3FB-B3FF6ED60080}"/>
                </a:ext>
              </a:extLst>
            </p:cNvPr>
            <p:cNvSpPr/>
            <p:nvPr/>
          </p:nvSpPr>
          <p:spPr bwMode="auto">
            <a:xfrm>
              <a:off x="7568455" y="2623494"/>
              <a:ext cx="124979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1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1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3" name="任意多边形: 形状 202">
              <a:extLst>
                <a:ext uri="{FF2B5EF4-FFF2-40B4-BE49-F238E27FC236}">
                  <a16:creationId xmlns:a16="http://schemas.microsoft.com/office/drawing/2014/main" id="{17DB5C4E-99EB-4EC5-8393-6A49BE89581B}"/>
                </a:ext>
              </a:extLst>
            </p:cNvPr>
            <p:cNvSpPr/>
            <p:nvPr/>
          </p:nvSpPr>
          <p:spPr bwMode="auto">
            <a:xfrm>
              <a:off x="7707320" y="2623494"/>
              <a:ext cx="123436" cy="72519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4" name="任意多边形: 形状 203">
              <a:extLst>
                <a:ext uri="{FF2B5EF4-FFF2-40B4-BE49-F238E27FC236}">
                  <a16:creationId xmlns:a16="http://schemas.microsoft.com/office/drawing/2014/main" id="{03BCEAF6-0419-48A9-BE96-F5155DE92441}"/>
                </a:ext>
              </a:extLst>
            </p:cNvPr>
            <p:cNvSpPr/>
            <p:nvPr/>
          </p:nvSpPr>
          <p:spPr bwMode="auto">
            <a:xfrm>
              <a:off x="7846185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0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5" name="任意多边形: 形状 204">
              <a:extLst>
                <a:ext uri="{FF2B5EF4-FFF2-40B4-BE49-F238E27FC236}">
                  <a16:creationId xmlns:a16="http://schemas.microsoft.com/office/drawing/2014/main" id="{CFD1BF75-D4B4-472E-B049-5C2256B79080}"/>
                </a:ext>
              </a:extLst>
            </p:cNvPr>
            <p:cNvSpPr/>
            <p:nvPr/>
          </p:nvSpPr>
          <p:spPr bwMode="auto">
            <a:xfrm>
              <a:off x="7985050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6" name="任意多边形: 形状 205">
              <a:extLst>
                <a:ext uri="{FF2B5EF4-FFF2-40B4-BE49-F238E27FC236}">
                  <a16:creationId xmlns:a16="http://schemas.microsoft.com/office/drawing/2014/main" id="{B7BCD18D-A207-4F69-B167-BBCB0C0384F7}"/>
                </a:ext>
              </a:extLst>
            </p:cNvPr>
            <p:cNvSpPr/>
            <p:nvPr/>
          </p:nvSpPr>
          <p:spPr bwMode="auto">
            <a:xfrm>
              <a:off x="8123916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7" name="任意多边形: 形状 206">
              <a:extLst>
                <a:ext uri="{FF2B5EF4-FFF2-40B4-BE49-F238E27FC236}">
                  <a16:creationId xmlns:a16="http://schemas.microsoft.com/office/drawing/2014/main" id="{5C498DBE-1526-4444-ADBB-98F58E358770}"/>
                </a:ext>
              </a:extLst>
            </p:cNvPr>
            <p:cNvSpPr/>
            <p:nvPr/>
          </p:nvSpPr>
          <p:spPr bwMode="auto">
            <a:xfrm>
              <a:off x="8262781" y="2623494"/>
              <a:ext cx="126522" cy="72519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8" name="任意多边形: 形状 207">
              <a:extLst>
                <a:ext uri="{FF2B5EF4-FFF2-40B4-BE49-F238E27FC236}">
                  <a16:creationId xmlns:a16="http://schemas.microsoft.com/office/drawing/2014/main" id="{5461D03B-DF85-4383-B22B-53CDE89CB78C}"/>
                </a:ext>
              </a:extLst>
            </p:cNvPr>
            <p:cNvSpPr/>
            <p:nvPr/>
          </p:nvSpPr>
          <p:spPr bwMode="auto">
            <a:xfrm>
              <a:off x="8400103" y="2623494"/>
              <a:ext cx="132693" cy="72519"/>
            </a:xfrm>
            <a:custGeom>
              <a:avLst/>
              <a:gdLst>
                <a:gd name="T0" fmla="*/ 33 w 36"/>
                <a:gd name="T1" fmla="*/ 10 h 20"/>
                <a:gd name="T2" fmla="*/ 14 w 36"/>
                <a:gd name="T3" fmla="*/ 0 h 20"/>
                <a:gd name="T4" fmla="*/ 2 w 36"/>
                <a:gd name="T5" fmla="*/ 10 h 20"/>
                <a:gd name="T6" fmla="*/ 2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6" y="0"/>
                    <a:pt x="0" y="4"/>
                    <a:pt x="2" y="10"/>
                  </a:cubicBezTo>
                  <a:cubicBezTo>
                    <a:pt x="4" y="16"/>
                    <a:pt x="13" y="20"/>
                    <a:pt x="22" y="20"/>
                  </a:cubicBezTo>
                  <a:cubicBezTo>
                    <a:pt x="30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9" name="任意多边形: 形状 208">
              <a:extLst>
                <a:ext uri="{FF2B5EF4-FFF2-40B4-BE49-F238E27FC236}">
                  <a16:creationId xmlns:a16="http://schemas.microsoft.com/office/drawing/2014/main" id="{47737201-3502-4495-9A2D-C5418CF9FD9A}"/>
                </a:ext>
              </a:extLst>
            </p:cNvPr>
            <p:cNvSpPr/>
            <p:nvPr/>
          </p:nvSpPr>
          <p:spPr bwMode="auto">
            <a:xfrm>
              <a:off x="853896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2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0" name="任意多边形: 形状 209">
              <a:extLst>
                <a:ext uri="{FF2B5EF4-FFF2-40B4-BE49-F238E27FC236}">
                  <a16:creationId xmlns:a16="http://schemas.microsoft.com/office/drawing/2014/main" id="{8EA22CF4-3057-4790-983A-A9A8E8392EDB}"/>
                </a:ext>
              </a:extLst>
            </p:cNvPr>
            <p:cNvSpPr/>
            <p:nvPr/>
          </p:nvSpPr>
          <p:spPr bwMode="auto">
            <a:xfrm>
              <a:off x="867783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1" name="任意多边形: 形状 210">
              <a:extLst>
                <a:ext uri="{FF2B5EF4-FFF2-40B4-BE49-F238E27FC236}">
                  <a16:creationId xmlns:a16="http://schemas.microsoft.com/office/drawing/2014/main" id="{1C3A5BCB-E247-4D00-B751-97E6FDEEDE69}"/>
                </a:ext>
              </a:extLst>
            </p:cNvPr>
            <p:cNvSpPr/>
            <p:nvPr/>
          </p:nvSpPr>
          <p:spPr bwMode="auto">
            <a:xfrm>
              <a:off x="7170375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4 w 33"/>
                <a:gd name="T3" fmla="*/ 0 h 22"/>
                <a:gd name="T4" fmla="*/ 1 w 33"/>
                <a:gd name="T5" fmla="*/ 11 h 22"/>
                <a:gd name="T6" fmla="*/ 19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7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2" name="任意多边形: 形状 211">
              <a:extLst>
                <a:ext uri="{FF2B5EF4-FFF2-40B4-BE49-F238E27FC236}">
                  <a16:creationId xmlns:a16="http://schemas.microsoft.com/office/drawing/2014/main" id="{C5C512F6-9A94-4213-ACB8-8F0568F5FE0F}"/>
                </a:ext>
              </a:extLst>
            </p:cNvPr>
            <p:cNvSpPr/>
            <p:nvPr/>
          </p:nvSpPr>
          <p:spPr bwMode="auto">
            <a:xfrm>
              <a:off x="7309240" y="2714528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5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3" name="任意多边形: 形状 212">
              <a:extLst>
                <a:ext uri="{FF2B5EF4-FFF2-40B4-BE49-F238E27FC236}">
                  <a16:creationId xmlns:a16="http://schemas.microsoft.com/office/drawing/2014/main" id="{40902828-BACC-47E9-83AB-E7D7D186C904}"/>
                </a:ext>
              </a:extLst>
            </p:cNvPr>
            <p:cNvSpPr/>
            <p:nvPr/>
          </p:nvSpPr>
          <p:spPr bwMode="auto">
            <a:xfrm>
              <a:off x="7452733" y="2714528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4" name="任意多边形: 形状 213">
              <a:extLst>
                <a:ext uri="{FF2B5EF4-FFF2-40B4-BE49-F238E27FC236}">
                  <a16:creationId xmlns:a16="http://schemas.microsoft.com/office/drawing/2014/main" id="{C5B142A0-0FD9-4071-8CB8-5B0D2B16D5C2}"/>
                </a:ext>
              </a:extLst>
            </p:cNvPr>
            <p:cNvSpPr/>
            <p:nvPr/>
          </p:nvSpPr>
          <p:spPr bwMode="auto">
            <a:xfrm>
              <a:off x="759005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5" name="任意多边形: 形状 214">
              <a:extLst>
                <a:ext uri="{FF2B5EF4-FFF2-40B4-BE49-F238E27FC236}">
                  <a16:creationId xmlns:a16="http://schemas.microsoft.com/office/drawing/2014/main" id="{BFB6302F-D505-46B7-B211-F02C875C0E82}"/>
                </a:ext>
              </a:extLst>
            </p:cNvPr>
            <p:cNvSpPr/>
            <p:nvPr/>
          </p:nvSpPr>
          <p:spPr bwMode="auto">
            <a:xfrm>
              <a:off x="7733550" y="2714528"/>
              <a:ext cx="126522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6" name="任意多边形: 形状 215">
              <a:extLst>
                <a:ext uri="{FF2B5EF4-FFF2-40B4-BE49-F238E27FC236}">
                  <a16:creationId xmlns:a16="http://schemas.microsoft.com/office/drawing/2014/main" id="{52B92F83-3301-4332-88FD-37D796A461FC}"/>
                </a:ext>
              </a:extLst>
            </p:cNvPr>
            <p:cNvSpPr/>
            <p:nvPr/>
          </p:nvSpPr>
          <p:spPr bwMode="auto">
            <a:xfrm>
              <a:off x="7872415" y="2714528"/>
              <a:ext cx="126522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7" name="任意多边形: 形状 216">
              <a:extLst>
                <a:ext uri="{FF2B5EF4-FFF2-40B4-BE49-F238E27FC236}">
                  <a16:creationId xmlns:a16="http://schemas.microsoft.com/office/drawing/2014/main" id="{B32B081A-33EC-4AF3-B724-80B38E8F3B2B}"/>
                </a:ext>
              </a:extLst>
            </p:cNvPr>
            <p:cNvSpPr/>
            <p:nvPr/>
          </p:nvSpPr>
          <p:spPr bwMode="auto">
            <a:xfrm>
              <a:off x="8014366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8" name="任意多边形: 形状 217">
              <a:extLst>
                <a:ext uri="{FF2B5EF4-FFF2-40B4-BE49-F238E27FC236}">
                  <a16:creationId xmlns:a16="http://schemas.microsoft.com/office/drawing/2014/main" id="{B8F2334F-CC0D-41D3-A704-DE28B4D7A44C}"/>
                </a:ext>
              </a:extLst>
            </p:cNvPr>
            <p:cNvSpPr/>
            <p:nvPr/>
          </p:nvSpPr>
          <p:spPr bwMode="auto">
            <a:xfrm>
              <a:off x="815323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5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9" name="任意多边形: 形状 218">
              <a:extLst>
                <a:ext uri="{FF2B5EF4-FFF2-40B4-BE49-F238E27FC236}">
                  <a16:creationId xmlns:a16="http://schemas.microsoft.com/office/drawing/2014/main" id="{727CA7E0-A507-4A4A-A8C8-CDFCE91B0761}"/>
                </a:ext>
              </a:extLst>
            </p:cNvPr>
            <p:cNvSpPr/>
            <p:nvPr/>
          </p:nvSpPr>
          <p:spPr bwMode="auto">
            <a:xfrm>
              <a:off x="8295182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0" name="任意多边形: 形状 219">
              <a:extLst>
                <a:ext uri="{FF2B5EF4-FFF2-40B4-BE49-F238E27FC236}">
                  <a16:creationId xmlns:a16="http://schemas.microsoft.com/office/drawing/2014/main" id="{66C9F04E-B404-4F99-B738-A7A40F030BFF}"/>
                </a:ext>
              </a:extLst>
            </p:cNvPr>
            <p:cNvSpPr/>
            <p:nvPr/>
          </p:nvSpPr>
          <p:spPr bwMode="auto">
            <a:xfrm>
              <a:off x="8437133" y="2714528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1" y="22"/>
                  </a:cubicBezTo>
                  <a:cubicBezTo>
                    <a:pt x="30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1" name="任意多边形: 形状 220">
              <a:extLst>
                <a:ext uri="{FF2B5EF4-FFF2-40B4-BE49-F238E27FC236}">
                  <a16:creationId xmlns:a16="http://schemas.microsoft.com/office/drawing/2014/main" id="{B1F84465-611E-46C1-9AE9-788131444C11}"/>
                </a:ext>
              </a:extLst>
            </p:cNvPr>
            <p:cNvSpPr/>
            <p:nvPr/>
          </p:nvSpPr>
          <p:spPr bwMode="auto">
            <a:xfrm>
              <a:off x="8575998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2" name="任意多边形: 形状 221">
              <a:extLst>
                <a:ext uri="{FF2B5EF4-FFF2-40B4-BE49-F238E27FC236}">
                  <a16:creationId xmlns:a16="http://schemas.microsoft.com/office/drawing/2014/main" id="{09FEEA7C-72EE-4EE9-9E0D-3C00FB40B3B1}"/>
                </a:ext>
              </a:extLst>
            </p:cNvPr>
            <p:cNvSpPr/>
            <p:nvPr/>
          </p:nvSpPr>
          <p:spPr bwMode="auto">
            <a:xfrm>
              <a:off x="871795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3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3" name="任意多边形: 形状 222">
              <a:extLst>
                <a:ext uri="{FF2B5EF4-FFF2-40B4-BE49-F238E27FC236}">
                  <a16:creationId xmlns:a16="http://schemas.microsoft.com/office/drawing/2014/main" id="{10E58831-AC5B-4D12-B8D9-098285CC7BBB}"/>
                </a:ext>
              </a:extLst>
            </p:cNvPr>
            <p:cNvSpPr/>
            <p:nvPr/>
          </p:nvSpPr>
          <p:spPr bwMode="auto">
            <a:xfrm>
              <a:off x="7185804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5 w 35"/>
                <a:gd name="T3" fmla="*/ 0 h 22"/>
                <a:gd name="T4" fmla="*/ 2 w 35"/>
                <a:gd name="T5" fmla="*/ 11 h 22"/>
                <a:gd name="T6" fmla="*/ 20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7" y="0"/>
                    <a:pt x="0" y="5"/>
                    <a:pt x="2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4" name="任意多边形: 形状 223">
              <a:extLst>
                <a:ext uri="{FF2B5EF4-FFF2-40B4-BE49-F238E27FC236}">
                  <a16:creationId xmlns:a16="http://schemas.microsoft.com/office/drawing/2014/main" id="{A6ECFF74-C6FD-4F79-B5A7-2A5566B1930A}"/>
                </a:ext>
              </a:extLst>
            </p:cNvPr>
            <p:cNvSpPr/>
            <p:nvPr/>
          </p:nvSpPr>
          <p:spPr bwMode="auto">
            <a:xfrm>
              <a:off x="7330841" y="2810191"/>
              <a:ext cx="124979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19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0" y="22"/>
                    <a:pt x="19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5" name="任意多边形: 形状 224">
              <a:extLst>
                <a:ext uri="{FF2B5EF4-FFF2-40B4-BE49-F238E27FC236}">
                  <a16:creationId xmlns:a16="http://schemas.microsoft.com/office/drawing/2014/main" id="{0BD5EB19-6952-4DDF-A74A-08327B61D0F7}"/>
                </a:ext>
              </a:extLst>
            </p:cNvPr>
            <p:cNvSpPr/>
            <p:nvPr/>
          </p:nvSpPr>
          <p:spPr bwMode="auto">
            <a:xfrm>
              <a:off x="7474336" y="2810191"/>
              <a:ext cx="123436" cy="80233"/>
            </a:xfrm>
            <a:custGeom>
              <a:avLst/>
              <a:gdLst>
                <a:gd name="T0" fmla="*/ 33 w 34"/>
                <a:gd name="T1" fmla="*/ 11 h 22"/>
                <a:gd name="T2" fmla="*/ 14 w 34"/>
                <a:gd name="T3" fmla="*/ 0 h 22"/>
                <a:gd name="T4" fmla="*/ 1 w 34"/>
                <a:gd name="T5" fmla="*/ 11 h 22"/>
                <a:gd name="T6" fmla="*/ 20 w 34"/>
                <a:gd name="T7" fmla="*/ 22 h 22"/>
                <a:gd name="T8" fmla="*/ 33 w 34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2">
                  <a:moveTo>
                    <a:pt x="33" y="11"/>
                  </a:moveTo>
                  <a:cubicBezTo>
                    <a:pt x="31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2" y="17"/>
                    <a:pt x="11" y="22"/>
                    <a:pt x="20" y="22"/>
                  </a:cubicBezTo>
                  <a:cubicBezTo>
                    <a:pt x="28" y="22"/>
                    <a:pt x="34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6" name="任意多边形: 形状 225">
              <a:extLst>
                <a:ext uri="{FF2B5EF4-FFF2-40B4-BE49-F238E27FC236}">
                  <a16:creationId xmlns:a16="http://schemas.microsoft.com/office/drawing/2014/main" id="{5C70F76E-9B72-4925-8F3D-054BB11677AF}"/>
                </a:ext>
              </a:extLst>
            </p:cNvPr>
            <p:cNvSpPr/>
            <p:nvPr/>
          </p:nvSpPr>
          <p:spPr bwMode="auto">
            <a:xfrm>
              <a:off x="7616287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7" name="任意多边形: 形状 226">
              <a:extLst>
                <a:ext uri="{FF2B5EF4-FFF2-40B4-BE49-F238E27FC236}">
                  <a16:creationId xmlns:a16="http://schemas.microsoft.com/office/drawing/2014/main" id="{6126CA3A-16C8-4889-A4AD-69BFB8B12CB9}"/>
                </a:ext>
              </a:extLst>
            </p:cNvPr>
            <p:cNvSpPr/>
            <p:nvPr/>
          </p:nvSpPr>
          <p:spPr bwMode="auto">
            <a:xfrm>
              <a:off x="7758238" y="2810191"/>
              <a:ext cx="128065" cy="80233"/>
            </a:xfrm>
            <a:custGeom>
              <a:avLst/>
              <a:gdLst>
                <a:gd name="T0" fmla="*/ 33 w 35"/>
                <a:gd name="T1" fmla="*/ 11 h 22"/>
                <a:gd name="T2" fmla="*/ 14 w 35"/>
                <a:gd name="T3" fmla="*/ 0 h 22"/>
                <a:gd name="T4" fmla="*/ 1 w 35"/>
                <a:gd name="T5" fmla="*/ 11 h 22"/>
                <a:gd name="T6" fmla="*/ 20 w 35"/>
                <a:gd name="T7" fmla="*/ 22 h 22"/>
                <a:gd name="T8" fmla="*/ 33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3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1" y="11"/>
                  </a:cubicBezTo>
                  <a:cubicBezTo>
                    <a:pt x="3" y="17"/>
                    <a:pt x="11" y="22"/>
                    <a:pt x="20" y="22"/>
                  </a:cubicBezTo>
                  <a:cubicBezTo>
                    <a:pt x="29" y="22"/>
                    <a:pt x="35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8" name="任意多边形: 形状 227">
              <a:extLst>
                <a:ext uri="{FF2B5EF4-FFF2-40B4-BE49-F238E27FC236}">
                  <a16:creationId xmlns:a16="http://schemas.microsoft.com/office/drawing/2014/main" id="{FC390233-2094-4A03-B552-817E7A9EF89F}"/>
                </a:ext>
              </a:extLst>
            </p:cNvPr>
            <p:cNvSpPr/>
            <p:nvPr/>
          </p:nvSpPr>
          <p:spPr bwMode="auto">
            <a:xfrm>
              <a:off x="7900189" y="2810191"/>
              <a:ext cx="128065" cy="80233"/>
            </a:xfrm>
            <a:custGeom>
              <a:avLst/>
              <a:gdLst>
                <a:gd name="T0" fmla="*/ 34 w 35"/>
                <a:gd name="T1" fmla="*/ 11 h 22"/>
                <a:gd name="T2" fmla="*/ 14 w 35"/>
                <a:gd name="T3" fmla="*/ 0 h 22"/>
                <a:gd name="T4" fmla="*/ 2 w 35"/>
                <a:gd name="T5" fmla="*/ 11 h 22"/>
                <a:gd name="T6" fmla="*/ 21 w 35"/>
                <a:gd name="T7" fmla="*/ 22 h 22"/>
                <a:gd name="T8" fmla="*/ 34 w 35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3" y="17"/>
                    <a:pt x="12" y="22"/>
                    <a:pt x="21" y="22"/>
                  </a:cubicBezTo>
                  <a:cubicBezTo>
                    <a:pt x="30" y="22"/>
                    <a:pt x="35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9" name="任意多边形: 形状 228">
              <a:extLst>
                <a:ext uri="{FF2B5EF4-FFF2-40B4-BE49-F238E27FC236}">
                  <a16:creationId xmlns:a16="http://schemas.microsoft.com/office/drawing/2014/main" id="{A44C98CA-5A98-4305-83C8-224902E36E54}"/>
                </a:ext>
              </a:extLst>
            </p:cNvPr>
            <p:cNvSpPr/>
            <p:nvPr/>
          </p:nvSpPr>
          <p:spPr bwMode="auto">
            <a:xfrm>
              <a:off x="8043682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1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7"/>
                    <a:pt x="12" y="22"/>
                    <a:pt x="21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0" name="任意多边形: 形状 229">
              <a:extLst>
                <a:ext uri="{FF2B5EF4-FFF2-40B4-BE49-F238E27FC236}">
                  <a16:creationId xmlns:a16="http://schemas.microsoft.com/office/drawing/2014/main" id="{91850C3F-12BA-49EF-A999-04AF4AC455F1}"/>
                </a:ext>
              </a:extLst>
            </p:cNvPr>
            <p:cNvSpPr/>
            <p:nvPr/>
          </p:nvSpPr>
          <p:spPr bwMode="auto">
            <a:xfrm>
              <a:off x="8185633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0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1" name="任意多边形: 形状 230">
              <a:extLst>
                <a:ext uri="{FF2B5EF4-FFF2-40B4-BE49-F238E27FC236}">
                  <a16:creationId xmlns:a16="http://schemas.microsoft.com/office/drawing/2014/main" id="{8B37C271-FB18-4636-B034-B908CB72CD3E}"/>
                </a:ext>
              </a:extLst>
            </p:cNvPr>
            <p:cNvSpPr/>
            <p:nvPr/>
          </p:nvSpPr>
          <p:spPr bwMode="auto">
            <a:xfrm>
              <a:off x="8327585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14 w 36"/>
                <a:gd name="T3" fmla="*/ 0 h 22"/>
                <a:gd name="T4" fmla="*/ 2 w 36"/>
                <a:gd name="T5" fmla="*/ 11 h 22"/>
                <a:gd name="T6" fmla="*/ 22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3" y="22"/>
                    <a:pt x="22" y="22"/>
                  </a:cubicBezTo>
                  <a:cubicBezTo>
                    <a:pt x="31" y="22"/>
                    <a:pt x="36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2" name="任意多边形: 形状 231">
              <a:extLst>
                <a:ext uri="{FF2B5EF4-FFF2-40B4-BE49-F238E27FC236}">
                  <a16:creationId xmlns:a16="http://schemas.microsoft.com/office/drawing/2014/main" id="{FD498DFF-0DE9-4248-BDC3-333D7EA2AC96}"/>
                </a:ext>
              </a:extLst>
            </p:cNvPr>
            <p:cNvSpPr/>
            <p:nvPr/>
          </p:nvSpPr>
          <p:spPr bwMode="auto">
            <a:xfrm>
              <a:off x="8469536" y="2810191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2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7"/>
                    <a:pt x="14" y="22"/>
                    <a:pt x="22" y="22"/>
                  </a:cubicBezTo>
                  <a:cubicBezTo>
                    <a:pt x="31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3" name="任意多边形: 形状 232">
              <a:extLst>
                <a:ext uri="{FF2B5EF4-FFF2-40B4-BE49-F238E27FC236}">
                  <a16:creationId xmlns:a16="http://schemas.microsoft.com/office/drawing/2014/main" id="{9CBE9DF5-2B0F-422B-B0E0-6AE19C4AFE2D}"/>
                </a:ext>
              </a:extLst>
            </p:cNvPr>
            <p:cNvSpPr/>
            <p:nvPr/>
          </p:nvSpPr>
          <p:spPr bwMode="auto">
            <a:xfrm>
              <a:off x="8613030" y="2810191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4" name="任意多边形: 形状 233">
              <a:extLst>
                <a:ext uri="{FF2B5EF4-FFF2-40B4-BE49-F238E27FC236}">
                  <a16:creationId xmlns:a16="http://schemas.microsoft.com/office/drawing/2014/main" id="{C0AF410B-6D52-43AD-B4B9-007336124914}"/>
                </a:ext>
              </a:extLst>
            </p:cNvPr>
            <p:cNvSpPr/>
            <p:nvPr/>
          </p:nvSpPr>
          <p:spPr bwMode="auto">
            <a:xfrm>
              <a:off x="8754981" y="2810191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5" name="任意多边形: 形状 234">
              <a:extLst>
                <a:ext uri="{FF2B5EF4-FFF2-40B4-BE49-F238E27FC236}">
                  <a16:creationId xmlns:a16="http://schemas.microsoft.com/office/drawing/2014/main" id="{B9C9415F-4FA4-47D7-9030-3B5468475DAE}"/>
                </a:ext>
              </a:extLst>
            </p:cNvPr>
            <p:cNvSpPr/>
            <p:nvPr/>
          </p:nvSpPr>
          <p:spPr bwMode="auto">
            <a:xfrm>
              <a:off x="9889046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12 w 35"/>
                <a:gd name="T3" fmla="*/ 0 h 18"/>
                <a:gd name="T4" fmla="*/ 3 w 35"/>
                <a:gd name="T5" fmla="*/ 9 h 18"/>
                <a:gd name="T6" fmla="*/ 23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8"/>
                    <a:pt x="23" y="18"/>
                  </a:cubicBezTo>
                  <a:cubicBezTo>
                    <a:pt x="31" y="18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6" name="任意多边形: 形状 235">
              <a:extLst>
                <a:ext uri="{FF2B5EF4-FFF2-40B4-BE49-F238E27FC236}">
                  <a16:creationId xmlns:a16="http://schemas.microsoft.com/office/drawing/2014/main" id="{D280EF3B-1D60-4535-A7F3-ADC28824DF7B}"/>
                </a:ext>
              </a:extLst>
            </p:cNvPr>
            <p:cNvSpPr/>
            <p:nvPr/>
          </p:nvSpPr>
          <p:spPr bwMode="auto">
            <a:xfrm>
              <a:off x="980881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7" name="任意多边形: 形状 236">
              <a:extLst>
                <a:ext uri="{FF2B5EF4-FFF2-40B4-BE49-F238E27FC236}">
                  <a16:creationId xmlns:a16="http://schemas.microsoft.com/office/drawing/2014/main" id="{7561B7C9-2E48-48DA-A1B1-1D91FB2CCD79}"/>
                </a:ext>
              </a:extLst>
            </p:cNvPr>
            <p:cNvSpPr/>
            <p:nvPr/>
          </p:nvSpPr>
          <p:spPr bwMode="auto">
            <a:xfrm>
              <a:off x="993996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5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8" name="任意多边形: 形状 237">
              <a:extLst>
                <a:ext uri="{FF2B5EF4-FFF2-40B4-BE49-F238E27FC236}">
                  <a16:creationId xmlns:a16="http://schemas.microsoft.com/office/drawing/2014/main" id="{FADE51DB-90D7-40A8-9474-ACEE49E79994}"/>
                </a:ext>
              </a:extLst>
            </p:cNvPr>
            <p:cNvSpPr/>
            <p:nvPr/>
          </p:nvSpPr>
          <p:spPr bwMode="auto">
            <a:xfrm>
              <a:off x="950639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4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5"/>
                    <a:pt x="15" y="19"/>
                    <a:pt x="24" y="19"/>
                  </a:cubicBezTo>
                  <a:cubicBezTo>
                    <a:pt x="32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9" name="任意多边形: 形状 238">
              <a:extLst>
                <a:ext uri="{FF2B5EF4-FFF2-40B4-BE49-F238E27FC236}">
                  <a16:creationId xmlns:a16="http://schemas.microsoft.com/office/drawing/2014/main" id="{2B6E76C7-51ED-4769-B870-F0270C36C648}"/>
                </a:ext>
              </a:extLst>
            </p:cNvPr>
            <p:cNvSpPr/>
            <p:nvPr/>
          </p:nvSpPr>
          <p:spPr bwMode="auto">
            <a:xfrm>
              <a:off x="9554228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0" name="任意多边形: 形状 239">
              <a:extLst>
                <a:ext uri="{FF2B5EF4-FFF2-40B4-BE49-F238E27FC236}">
                  <a16:creationId xmlns:a16="http://schemas.microsoft.com/office/drawing/2014/main" id="{607FAB41-17E4-4767-A0EC-0DFDC773CA76}"/>
                </a:ext>
              </a:extLst>
            </p:cNvPr>
            <p:cNvSpPr/>
            <p:nvPr/>
          </p:nvSpPr>
          <p:spPr bwMode="auto">
            <a:xfrm>
              <a:off x="9600516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5"/>
                    <a:pt x="16" y="20"/>
                    <a:pt x="24" y="20"/>
                  </a:cubicBezTo>
                  <a:cubicBezTo>
                    <a:pt x="33" y="20"/>
                    <a:pt x="37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1" name="任意多边形: 形状 240">
              <a:extLst>
                <a:ext uri="{FF2B5EF4-FFF2-40B4-BE49-F238E27FC236}">
                  <a16:creationId xmlns:a16="http://schemas.microsoft.com/office/drawing/2014/main" id="{64D0FABA-2E10-42E0-997B-46DACC90424B}"/>
                </a:ext>
              </a:extLst>
            </p:cNvPr>
            <p:cNvSpPr/>
            <p:nvPr/>
          </p:nvSpPr>
          <p:spPr bwMode="auto">
            <a:xfrm>
              <a:off x="9375246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2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2" name="任意多边形: 形状 241">
              <a:extLst>
                <a:ext uri="{FF2B5EF4-FFF2-40B4-BE49-F238E27FC236}">
                  <a16:creationId xmlns:a16="http://schemas.microsoft.com/office/drawing/2014/main" id="{904D8306-79AE-4660-AF5E-DC326A4BE352}"/>
                </a:ext>
              </a:extLst>
            </p:cNvPr>
            <p:cNvSpPr/>
            <p:nvPr/>
          </p:nvSpPr>
          <p:spPr bwMode="auto">
            <a:xfrm>
              <a:off x="9514111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3 w 37"/>
                <a:gd name="T3" fmla="*/ 0 h 20"/>
                <a:gd name="T4" fmla="*/ 3 w 37"/>
                <a:gd name="T5" fmla="*/ 10 h 20"/>
                <a:gd name="T6" fmla="*/ 2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3" y="10"/>
                  </a:cubicBezTo>
                  <a:cubicBezTo>
                    <a:pt x="6" y="16"/>
                    <a:pt x="15" y="20"/>
                    <a:pt x="24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3" name="任意多边形: 形状 242">
              <a:extLst>
                <a:ext uri="{FF2B5EF4-FFF2-40B4-BE49-F238E27FC236}">
                  <a16:creationId xmlns:a16="http://schemas.microsoft.com/office/drawing/2014/main" id="{261EBCAA-7F52-4019-BAB9-25037A72DA83}"/>
                </a:ext>
              </a:extLst>
            </p:cNvPr>
            <p:cNvSpPr/>
            <p:nvPr/>
          </p:nvSpPr>
          <p:spPr bwMode="auto">
            <a:xfrm>
              <a:off x="9375246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4" name="任意多边形: 形状 243">
              <a:extLst>
                <a:ext uri="{FF2B5EF4-FFF2-40B4-BE49-F238E27FC236}">
                  <a16:creationId xmlns:a16="http://schemas.microsoft.com/office/drawing/2014/main" id="{B405EC86-9B37-44D0-940E-2909E2232F2B}"/>
                </a:ext>
              </a:extLst>
            </p:cNvPr>
            <p:cNvSpPr/>
            <p:nvPr/>
          </p:nvSpPr>
          <p:spPr bwMode="auto">
            <a:xfrm>
              <a:off x="941844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5" name="任意多边形: 形状 244">
              <a:extLst>
                <a:ext uri="{FF2B5EF4-FFF2-40B4-BE49-F238E27FC236}">
                  <a16:creationId xmlns:a16="http://schemas.microsoft.com/office/drawing/2014/main" id="{AE734B02-3BD0-4302-A763-E943EC4886D8}"/>
                </a:ext>
              </a:extLst>
            </p:cNvPr>
            <p:cNvSpPr/>
            <p:nvPr/>
          </p:nvSpPr>
          <p:spPr bwMode="auto">
            <a:xfrm>
              <a:off x="946319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4"/>
                    <a:pt x="14" y="19"/>
                    <a:pt x="23" y="19"/>
                  </a:cubicBezTo>
                  <a:cubicBezTo>
                    <a:pt x="31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6" name="任意多边形: 形状 245">
              <a:extLst>
                <a:ext uri="{FF2B5EF4-FFF2-40B4-BE49-F238E27FC236}">
                  <a16:creationId xmlns:a16="http://schemas.microsoft.com/office/drawing/2014/main" id="{14848017-7EAD-456A-8391-978B3AA96326}"/>
                </a:ext>
              </a:extLst>
            </p:cNvPr>
            <p:cNvSpPr/>
            <p:nvPr/>
          </p:nvSpPr>
          <p:spPr bwMode="auto">
            <a:xfrm>
              <a:off x="8199520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13 w 31"/>
                <a:gd name="T3" fmla="*/ 0 h 16"/>
                <a:gd name="T4" fmla="*/ 2 w 31"/>
                <a:gd name="T5" fmla="*/ 8 h 16"/>
                <a:gd name="T6" fmla="*/ 19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2" y="8"/>
                  </a:cubicBezTo>
                  <a:cubicBezTo>
                    <a:pt x="4" y="12"/>
                    <a:pt x="11" y="16"/>
                    <a:pt x="19" y="16"/>
                  </a:cubicBezTo>
                  <a:cubicBezTo>
                    <a:pt x="26" y="16"/>
                    <a:pt x="31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7" name="任意多边形: 形状 246">
              <a:extLst>
                <a:ext uri="{FF2B5EF4-FFF2-40B4-BE49-F238E27FC236}">
                  <a16:creationId xmlns:a16="http://schemas.microsoft.com/office/drawing/2014/main" id="{1F07A6B1-2D7B-4F14-8355-0C4457643A1A}"/>
                </a:ext>
              </a:extLst>
            </p:cNvPr>
            <p:cNvSpPr/>
            <p:nvPr/>
          </p:nvSpPr>
          <p:spPr bwMode="auto">
            <a:xfrm>
              <a:off x="710865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8" y="16"/>
                    <a:pt x="16" y="16"/>
                  </a:cubicBezTo>
                  <a:cubicBezTo>
                    <a:pt x="23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8" name="任意多边形: 形状 247">
              <a:extLst>
                <a:ext uri="{FF2B5EF4-FFF2-40B4-BE49-F238E27FC236}">
                  <a16:creationId xmlns:a16="http://schemas.microsoft.com/office/drawing/2014/main" id="{377ECFC5-844D-4C57-AB4A-EF5DF00A1F2E}"/>
                </a:ext>
              </a:extLst>
            </p:cNvPr>
            <p:cNvSpPr/>
            <p:nvPr/>
          </p:nvSpPr>
          <p:spPr bwMode="auto">
            <a:xfrm>
              <a:off x="7229007" y="1734757"/>
              <a:ext cx="106464" cy="58632"/>
            </a:xfrm>
            <a:custGeom>
              <a:avLst/>
              <a:gdLst>
                <a:gd name="T0" fmla="*/ 28 w 29"/>
                <a:gd name="T1" fmla="*/ 8 h 16"/>
                <a:gd name="T2" fmla="*/ 13 w 29"/>
                <a:gd name="T3" fmla="*/ 0 h 16"/>
                <a:gd name="T4" fmla="*/ 1 w 29"/>
                <a:gd name="T5" fmla="*/ 8 h 16"/>
                <a:gd name="T6" fmla="*/ 16 w 29"/>
                <a:gd name="T7" fmla="*/ 16 h 16"/>
                <a:gd name="T8" fmla="*/ 28 w 29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6">
                  <a:moveTo>
                    <a:pt x="28" y="8"/>
                  </a:moveTo>
                  <a:cubicBezTo>
                    <a:pt x="27" y="3"/>
                    <a:pt x="20" y="0"/>
                    <a:pt x="13" y="0"/>
                  </a:cubicBezTo>
                  <a:cubicBezTo>
                    <a:pt x="5" y="0"/>
                    <a:pt x="0" y="3"/>
                    <a:pt x="1" y="8"/>
                  </a:cubicBezTo>
                  <a:cubicBezTo>
                    <a:pt x="2" y="12"/>
                    <a:pt x="9" y="16"/>
                    <a:pt x="16" y="16"/>
                  </a:cubicBezTo>
                  <a:cubicBezTo>
                    <a:pt x="24" y="16"/>
                    <a:pt x="29" y="12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9" name="任意多边形: 形状 248">
              <a:extLst>
                <a:ext uri="{FF2B5EF4-FFF2-40B4-BE49-F238E27FC236}">
                  <a16:creationId xmlns:a16="http://schemas.microsoft.com/office/drawing/2014/main" id="{9A9C5964-4607-42B9-AFF8-F4C4A52CD564}"/>
                </a:ext>
              </a:extLst>
            </p:cNvPr>
            <p:cNvSpPr/>
            <p:nvPr/>
          </p:nvSpPr>
          <p:spPr bwMode="auto">
            <a:xfrm>
              <a:off x="68756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0" name="任意多边形: 形状 249">
              <a:extLst>
                <a:ext uri="{FF2B5EF4-FFF2-40B4-BE49-F238E27FC236}">
                  <a16:creationId xmlns:a16="http://schemas.microsoft.com/office/drawing/2014/main" id="{FD170F0F-DC84-4ECD-A33B-3DE94BB52A60}"/>
                </a:ext>
              </a:extLst>
            </p:cNvPr>
            <p:cNvSpPr/>
            <p:nvPr/>
          </p:nvSpPr>
          <p:spPr bwMode="auto">
            <a:xfrm>
              <a:off x="6999108" y="1804190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9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1" name="任意多边形: 形状 250">
              <a:extLst>
                <a:ext uri="{FF2B5EF4-FFF2-40B4-BE49-F238E27FC236}">
                  <a16:creationId xmlns:a16="http://schemas.microsoft.com/office/drawing/2014/main" id="{D2048F1F-5A84-4B56-90AC-948604E08735}"/>
                </a:ext>
              </a:extLst>
            </p:cNvPr>
            <p:cNvSpPr/>
            <p:nvPr/>
          </p:nvSpPr>
          <p:spPr bwMode="auto">
            <a:xfrm>
              <a:off x="6889558" y="1878251"/>
              <a:ext cx="106464" cy="61718"/>
            </a:xfrm>
            <a:custGeom>
              <a:avLst/>
              <a:gdLst>
                <a:gd name="T0" fmla="*/ 28 w 29"/>
                <a:gd name="T1" fmla="*/ 9 h 17"/>
                <a:gd name="T2" fmla="*/ 13 w 29"/>
                <a:gd name="T3" fmla="*/ 0 h 17"/>
                <a:gd name="T4" fmla="*/ 1 w 29"/>
                <a:gd name="T5" fmla="*/ 9 h 17"/>
                <a:gd name="T6" fmla="*/ 16 w 29"/>
                <a:gd name="T7" fmla="*/ 17 h 17"/>
                <a:gd name="T8" fmla="*/ 28 w 29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8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8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2" name="任意多边形: 形状 251">
              <a:extLst>
                <a:ext uri="{FF2B5EF4-FFF2-40B4-BE49-F238E27FC236}">
                  <a16:creationId xmlns:a16="http://schemas.microsoft.com/office/drawing/2014/main" id="{F7AC0CD6-041A-4F29-8FE2-A1D25684B618}"/>
                </a:ext>
              </a:extLst>
            </p:cNvPr>
            <p:cNvSpPr/>
            <p:nvPr/>
          </p:nvSpPr>
          <p:spPr bwMode="auto">
            <a:xfrm>
              <a:off x="7137973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3" name="任意多边形: 形状 252">
              <a:extLst>
                <a:ext uri="{FF2B5EF4-FFF2-40B4-BE49-F238E27FC236}">
                  <a16:creationId xmlns:a16="http://schemas.microsoft.com/office/drawing/2014/main" id="{F322D8F8-979F-42F5-AECB-3716E8497218}"/>
                </a:ext>
              </a:extLst>
            </p:cNvPr>
            <p:cNvSpPr/>
            <p:nvPr/>
          </p:nvSpPr>
          <p:spPr bwMode="auto">
            <a:xfrm>
              <a:off x="7262951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4" name="任意多边形: 形状 253">
              <a:extLst>
                <a:ext uri="{FF2B5EF4-FFF2-40B4-BE49-F238E27FC236}">
                  <a16:creationId xmlns:a16="http://schemas.microsoft.com/office/drawing/2014/main" id="{C397FF5B-2DE1-4C30-ADC8-AABFE55544F2}"/>
                </a:ext>
              </a:extLst>
            </p:cNvPr>
            <p:cNvSpPr/>
            <p:nvPr/>
          </p:nvSpPr>
          <p:spPr bwMode="auto">
            <a:xfrm>
              <a:off x="7386387" y="1878251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7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5" name="任意多边形: 形状 254">
              <a:extLst>
                <a:ext uri="{FF2B5EF4-FFF2-40B4-BE49-F238E27FC236}">
                  <a16:creationId xmlns:a16="http://schemas.microsoft.com/office/drawing/2014/main" id="{6E599B3D-8BB6-403E-8D10-EBC3B531E5CB}"/>
                </a:ext>
              </a:extLst>
            </p:cNvPr>
            <p:cNvSpPr/>
            <p:nvPr/>
          </p:nvSpPr>
          <p:spPr bwMode="auto">
            <a:xfrm>
              <a:off x="7634802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6" name="任意多边形: 形状 255">
              <a:extLst>
                <a:ext uri="{FF2B5EF4-FFF2-40B4-BE49-F238E27FC236}">
                  <a16:creationId xmlns:a16="http://schemas.microsoft.com/office/drawing/2014/main" id="{6488FA0E-EACC-45FB-94B2-F3DDF489A656}"/>
                </a:ext>
              </a:extLst>
            </p:cNvPr>
            <p:cNvSpPr/>
            <p:nvPr/>
          </p:nvSpPr>
          <p:spPr bwMode="auto">
            <a:xfrm>
              <a:off x="7736637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7" name="任意多边形: 形状 256">
              <a:extLst>
                <a:ext uri="{FF2B5EF4-FFF2-40B4-BE49-F238E27FC236}">
                  <a16:creationId xmlns:a16="http://schemas.microsoft.com/office/drawing/2014/main" id="{08753C4B-382C-42BA-9B55-91477CC7C31E}"/>
                </a:ext>
              </a:extLst>
            </p:cNvPr>
            <p:cNvSpPr/>
            <p:nvPr/>
          </p:nvSpPr>
          <p:spPr bwMode="auto">
            <a:xfrm>
              <a:off x="7860072" y="1804190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2 w 30"/>
                <a:gd name="T3" fmla="*/ 0 h 17"/>
                <a:gd name="T4" fmla="*/ 1 w 30"/>
                <a:gd name="T5" fmla="*/ 9 h 17"/>
                <a:gd name="T6" fmla="*/ 18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5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8" name="任意多边形: 形状 257">
              <a:extLst>
                <a:ext uri="{FF2B5EF4-FFF2-40B4-BE49-F238E27FC236}">
                  <a16:creationId xmlns:a16="http://schemas.microsoft.com/office/drawing/2014/main" id="{EEF8518A-F7D4-40D3-ADB6-69481C7883F6}"/>
                </a:ext>
              </a:extLst>
            </p:cNvPr>
            <p:cNvSpPr/>
            <p:nvPr/>
          </p:nvSpPr>
          <p:spPr bwMode="auto">
            <a:xfrm>
              <a:off x="79804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9" name="任意多边形: 形状 258">
              <a:extLst>
                <a:ext uri="{FF2B5EF4-FFF2-40B4-BE49-F238E27FC236}">
                  <a16:creationId xmlns:a16="http://schemas.microsoft.com/office/drawing/2014/main" id="{EA44DB49-54E5-4215-BD4A-B52BCA59FBBD}"/>
                </a:ext>
              </a:extLst>
            </p:cNvPr>
            <p:cNvSpPr/>
            <p:nvPr/>
          </p:nvSpPr>
          <p:spPr bwMode="auto">
            <a:xfrm>
              <a:off x="8105400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0" name="任意多边形: 形状 259">
              <a:extLst>
                <a:ext uri="{FF2B5EF4-FFF2-40B4-BE49-F238E27FC236}">
                  <a16:creationId xmlns:a16="http://schemas.microsoft.com/office/drawing/2014/main" id="{F400732C-2AB4-462D-A07A-6CB60868E0E8}"/>
                </a:ext>
              </a:extLst>
            </p:cNvPr>
            <p:cNvSpPr/>
            <p:nvPr/>
          </p:nvSpPr>
          <p:spPr bwMode="auto">
            <a:xfrm>
              <a:off x="8228836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1" name="任意多边形: 形状 260">
              <a:extLst>
                <a:ext uri="{FF2B5EF4-FFF2-40B4-BE49-F238E27FC236}">
                  <a16:creationId xmlns:a16="http://schemas.microsoft.com/office/drawing/2014/main" id="{09762E89-1C34-4CAE-B532-340112374243}"/>
                </a:ext>
              </a:extLst>
            </p:cNvPr>
            <p:cNvSpPr/>
            <p:nvPr/>
          </p:nvSpPr>
          <p:spPr bwMode="auto">
            <a:xfrm>
              <a:off x="8349186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2" name="任意多边形: 形状 261">
              <a:extLst>
                <a:ext uri="{FF2B5EF4-FFF2-40B4-BE49-F238E27FC236}">
                  <a16:creationId xmlns:a16="http://schemas.microsoft.com/office/drawing/2014/main" id="{F0FC92EE-256E-407B-8C4A-193B79898245}"/>
                </a:ext>
              </a:extLst>
            </p:cNvPr>
            <p:cNvSpPr/>
            <p:nvPr/>
          </p:nvSpPr>
          <p:spPr bwMode="auto">
            <a:xfrm>
              <a:off x="8474165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3" name="任意多边形: 形状 262">
              <a:extLst>
                <a:ext uri="{FF2B5EF4-FFF2-40B4-BE49-F238E27FC236}">
                  <a16:creationId xmlns:a16="http://schemas.microsoft.com/office/drawing/2014/main" id="{8275627D-0BC2-4D57-A7B0-9477946507BE}"/>
                </a:ext>
              </a:extLst>
            </p:cNvPr>
            <p:cNvSpPr/>
            <p:nvPr/>
          </p:nvSpPr>
          <p:spPr bwMode="auto">
            <a:xfrm>
              <a:off x="9290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3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4" name="任意多边形: 形状 263">
              <a:extLst>
                <a:ext uri="{FF2B5EF4-FFF2-40B4-BE49-F238E27FC236}">
                  <a16:creationId xmlns:a16="http://schemas.microsoft.com/office/drawing/2014/main" id="{18734EBE-CEB7-4B8A-9DD2-687E4496A979}"/>
                </a:ext>
              </a:extLst>
            </p:cNvPr>
            <p:cNvSpPr/>
            <p:nvPr/>
          </p:nvSpPr>
          <p:spPr bwMode="auto">
            <a:xfrm>
              <a:off x="94153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5" name="任意多边形: 形状 264">
              <a:extLst>
                <a:ext uri="{FF2B5EF4-FFF2-40B4-BE49-F238E27FC236}">
                  <a16:creationId xmlns:a16="http://schemas.microsoft.com/office/drawing/2014/main" id="{F08AD093-B253-4FC9-926F-BAEA146888A3}"/>
                </a:ext>
              </a:extLst>
            </p:cNvPr>
            <p:cNvSpPr/>
            <p:nvPr/>
          </p:nvSpPr>
          <p:spPr bwMode="auto">
            <a:xfrm>
              <a:off x="9543426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6" name="任意多边形: 形状 265">
              <a:extLst>
                <a:ext uri="{FF2B5EF4-FFF2-40B4-BE49-F238E27FC236}">
                  <a16:creationId xmlns:a16="http://schemas.microsoft.com/office/drawing/2014/main" id="{716A10F2-2212-478B-B925-4B4F56F1DB25}"/>
                </a:ext>
              </a:extLst>
            </p:cNvPr>
            <p:cNvSpPr/>
            <p:nvPr/>
          </p:nvSpPr>
          <p:spPr bwMode="auto">
            <a:xfrm>
              <a:off x="9666862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7" name="任意多边形: 形状 266">
              <a:extLst>
                <a:ext uri="{FF2B5EF4-FFF2-40B4-BE49-F238E27FC236}">
                  <a16:creationId xmlns:a16="http://schemas.microsoft.com/office/drawing/2014/main" id="{D7352730-0DA5-4B10-B8C4-F6197E9585F6}"/>
                </a:ext>
              </a:extLst>
            </p:cNvPr>
            <p:cNvSpPr/>
            <p:nvPr/>
          </p:nvSpPr>
          <p:spPr bwMode="auto">
            <a:xfrm>
              <a:off x="97949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2 w 34"/>
                <a:gd name="T3" fmla="*/ 0 h 17"/>
                <a:gd name="T4" fmla="*/ 3 w 34"/>
                <a:gd name="T5" fmla="*/ 8 h 17"/>
                <a:gd name="T6" fmla="*/ 2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8" name="任意多边形: 形状 267">
              <a:extLst>
                <a:ext uri="{FF2B5EF4-FFF2-40B4-BE49-F238E27FC236}">
                  <a16:creationId xmlns:a16="http://schemas.microsoft.com/office/drawing/2014/main" id="{1E5B90EE-D31D-44ED-802E-6ACE446A094D}"/>
                </a:ext>
              </a:extLst>
            </p:cNvPr>
            <p:cNvSpPr/>
            <p:nvPr/>
          </p:nvSpPr>
          <p:spPr bwMode="auto">
            <a:xfrm>
              <a:off x="99183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9" name="任意多边形: 形状 268">
              <a:extLst>
                <a:ext uri="{FF2B5EF4-FFF2-40B4-BE49-F238E27FC236}">
                  <a16:creationId xmlns:a16="http://schemas.microsoft.com/office/drawing/2014/main" id="{D644AED3-5187-4989-B929-8B84F55763BB}"/>
                </a:ext>
              </a:extLst>
            </p:cNvPr>
            <p:cNvSpPr/>
            <p:nvPr/>
          </p:nvSpPr>
          <p:spPr bwMode="auto">
            <a:xfrm>
              <a:off x="10046427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11 w 34"/>
                <a:gd name="T3" fmla="*/ 0 h 17"/>
                <a:gd name="T4" fmla="*/ 3 w 34"/>
                <a:gd name="T5" fmla="*/ 8 h 17"/>
                <a:gd name="T6" fmla="*/ 23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0" name="任意多边形: 形状 269">
              <a:extLst>
                <a:ext uri="{FF2B5EF4-FFF2-40B4-BE49-F238E27FC236}">
                  <a16:creationId xmlns:a16="http://schemas.microsoft.com/office/drawing/2014/main" id="{FE4FD971-20FA-448A-BE86-AACF4858C6FD}"/>
                </a:ext>
              </a:extLst>
            </p:cNvPr>
            <p:cNvSpPr/>
            <p:nvPr/>
          </p:nvSpPr>
          <p:spPr bwMode="auto">
            <a:xfrm>
              <a:off x="10169863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12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8"/>
                  </a:cubicBezTo>
                  <a:cubicBezTo>
                    <a:pt x="7" y="13"/>
                    <a:pt x="16" y="17"/>
                    <a:pt x="23" y="17"/>
                  </a:cubicBezTo>
                  <a:cubicBezTo>
                    <a:pt x="31" y="17"/>
                    <a:pt x="35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1" name="任意多边形: 形状 270">
              <a:extLst>
                <a:ext uri="{FF2B5EF4-FFF2-40B4-BE49-F238E27FC236}">
                  <a16:creationId xmlns:a16="http://schemas.microsoft.com/office/drawing/2014/main" id="{B6F2FC88-8D0B-4B1B-A327-5559D419812D}"/>
                </a:ext>
              </a:extLst>
            </p:cNvPr>
            <p:cNvSpPr/>
            <p:nvPr/>
          </p:nvSpPr>
          <p:spPr bwMode="auto">
            <a:xfrm>
              <a:off x="10297928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11 w 35"/>
                <a:gd name="T3" fmla="*/ 0 h 17"/>
                <a:gd name="T4" fmla="*/ 3 w 35"/>
                <a:gd name="T5" fmla="*/ 8 h 17"/>
                <a:gd name="T6" fmla="*/ 23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8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2" name="任意多边形: 形状 271">
              <a:extLst>
                <a:ext uri="{FF2B5EF4-FFF2-40B4-BE49-F238E27FC236}">
                  <a16:creationId xmlns:a16="http://schemas.microsoft.com/office/drawing/2014/main" id="{D990425D-A439-45F0-98E9-A9C3D8899292}"/>
                </a:ext>
              </a:extLst>
            </p:cNvPr>
            <p:cNvSpPr/>
            <p:nvPr/>
          </p:nvSpPr>
          <p:spPr bwMode="auto">
            <a:xfrm>
              <a:off x="933050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3" name="任意多边形: 形状 272">
              <a:extLst>
                <a:ext uri="{FF2B5EF4-FFF2-40B4-BE49-F238E27FC236}">
                  <a16:creationId xmlns:a16="http://schemas.microsoft.com/office/drawing/2014/main" id="{3EC2ABB7-443B-453D-B95C-CCE8B7553BFD}"/>
                </a:ext>
              </a:extLst>
            </p:cNvPr>
            <p:cNvSpPr/>
            <p:nvPr/>
          </p:nvSpPr>
          <p:spPr bwMode="auto">
            <a:xfrm>
              <a:off x="9458565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4" name="任意多边形: 形状 273">
              <a:extLst>
                <a:ext uri="{FF2B5EF4-FFF2-40B4-BE49-F238E27FC236}">
                  <a16:creationId xmlns:a16="http://schemas.microsoft.com/office/drawing/2014/main" id="{74A70AA3-8BBD-4C6E-8AA7-F1049D69F577}"/>
                </a:ext>
              </a:extLst>
            </p:cNvPr>
            <p:cNvSpPr/>
            <p:nvPr/>
          </p:nvSpPr>
          <p:spPr bwMode="auto">
            <a:xfrm>
              <a:off x="9586629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5" name="任意多边形: 形状 274">
              <a:extLst>
                <a:ext uri="{FF2B5EF4-FFF2-40B4-BE49-F238E27FC236}">
                  <a16:creationId xmlns:a16="http://schemas.microsoft.com/office/drawing/2014/main" id="{AE159EBB-46FC-4913-BC29-1B5497E687DF}"/>
                </a:ext>
              </a:extLst>
            </p:cNvPr>
            <p:cNvSpPr/>
            <p:nvPr/>
          </p:nvSpPr>
          <p:spPr bwMode="auto">
            <a:xfrm>
              <a:off x="9714694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6" name="任意多边形: 形状 275">
              <a:extLst>
                <a:ext uri="{FF2B5EF4-FFF2-40B4-BE49-F238E27FC236}">
                  <a16:creationId xmlns:a16="http://schemas.microsoft.com/office/drawing/2014/main" id="{0201896D-3B45-4097-BDB9-4ADE5A6F79B2}"/>
                </a:ext>
              </a:extLst>
            </p:cNvPr>
            <p:cNvSpPr/>
            <p:nvPr/>
          </p:nvSpPr>
          <p:spPr bwMode="auto">
            <a:xfrm>
              <a:off x="984275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7" name="任意多边形: 形状 276">
              <a:extLst>
                <a:ext uri="{FF2B5EF4-FFF2-40B4-BE49-F238E27FC236}">
                  <a16:creationId xmlns:a16="http://schemas.microsoft.com/office/drawing/2014/main" id="{99F6C223-F321-4570-A6A6-7170CBF04B3B}"/>
                </a:ext>
              </a:extLst>
            </p:cNvPr>
            <p:cNvSpPr/>
            <p:nvPr/>
          </p:nvSpPr>
          <p:spPr bwMode="auto">
            <a:xfrm>
              <a:off x="9969280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1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8" name="任意多边形: 形状 277">
              <a:extLst>
                <a:ext uri="{FF2B5EF4-FFF2-40B4-BE49-F238E27FC236}">
                  <a16:creationId xmlns:a16="http://schemas.microsoft.com/office/drawing/2014/main" id="{80E72971-196B-4FE6-8F43-691BCD224C20}"/>
                </a:ext>
              </a:extLst>
            </p:cNvPr>
            <p:cNvSpPr/>
            <p:nvPr/>
          </p:nvSpPr>
          <p:spPr bwMode="auto">
            <a:xfrm>
              <a:off x="10097345" y="2031003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1 w 35"/>
                <a:gd name="T3" fmla="*/ 0 h 17"/>
                <a:gd name="T4" fmla="*/ 3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1" y="0"/>
                  </a:cubicBezTo>
                  <a:cubicBezTo>
                    <a:pt x="3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9" name="任意多边形: 形状 278">
              <a:extLst>
                <a:ext uri="{FF2B5EF4-FFF2-40B4-BE49-F238E27FC236}">
                  <a16:creationId xmlns:a16="http://schemas.microsoft.com/office/drawing/2014/main" id="{94F9C06D-4A17-40BF-BCA6-885B397976B8}"/>
                </a:ext>
              </a:extLst>
            </p:cNvPr>
            <p:cNvSpPr/>
            <p:nvPr/>
          </p:nvSpPr>
          <p:spPr bwMode="auto">
            <a:xfrm>
              <a:off x="1022232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12 w 36"/>
                <a:gd name="T3" fmla="*/ 0 h 17"/>
                <a:gd name="T4" fmla="*/ 4 w 36"/>
                <a:gd name="T5" fmla="*/ 9 h 17"/>
                <a:gd name="T6" fmla="*/ 24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6" y="17"/>
                    <a:pt x="24" y="17"/>
                  </a:cubicBezTo>
                  <a:cubicBezTo>
                    <a:pt x="32" y="17"/>
                    <a:pt x="36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0" name="任意多边形: 形状 279">
              <a:extLst>
                <a:ext uri="{FF2B5EF4-FFF2-40B4-BE49-F238E27FC236}">
                  <a16:creationId xmlns:a16="http://schemas.microsoft.com/office/drawing/2014/main" id="{52E4F945-28AE-469E-AFF3-D5385EE70F86}"/>
                </a:ext>
              </a:extLst>
            </p:cNvPr>
            <p:cNvSpPr/>
            <p:nvPr/>
          </p:nvSpPr>
          <p:spPr bwMode="auto">
            <a:xfrm>
              <a:off x="7758238" y="1878251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1" name="任意多边形: 形状 280">
              <a:extLst>
                <a:ext uri="{FF2B5EF4-FFF2-40B4-BE49-F238E27FC236}">
                  <a16:creationId xmlns:a16="http://schemas.microsoft.com/office/drawing/2014/main" id="{39C1856B-64BD-41CB-8A01-B188A87847FF}"/>
                </a:ext>
              </a:extLst>
            </p:cNvPr>
            <p:cNvSpPr/>
            <p:nvPr/>
          </p:nvSpPr>
          <p:spPr bwMode="auto">
            <a:xfrm>
              <a:off x="7883216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2" name="任意多边形: 形状 281">
              <a:extLst>
                <a:ext uri="{FF2B5EF4-FFF2-40B4-BE49-F238E27FC236}">
                  <a16:creationId xmlns:a16="http://schemas.microsoft.com/office/drawing/2014/main" id="{DA1F6B84-7535-4081-AB07-B06AA489EFC5}"/>
                </a:ext>
              </a:extLst>
            </p:cNvPr>
            <p:cNvSpPr/>
            <p:nvPr/>
          </p:nvSpPr>
          <p:spPr bwMode="auto">
            <a:xfrm>
              <a:off x="8006652" y="1878251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3" name="任意多边形: 形状 282">
              <a:extLst>
                <a:ext uri="{FF2B5EF4-FFF2-40B4-BE49-F238E27FC236}">
                  <a16:creationId xmlns:a16="http://schemas.microsoft.com/office/drawing/2014/main" id="{DF85A4CA-0918-4B6E-807E-3AB5B4A70C5F}"/>
                </a:ext>
              </a:extLst>
            </p:cNvPr>
            <p:cNvSpPr/>
            <p:nvPr/>
          </p:nvSpPr>
          <p:spPr bwMode="auto">
            <a:xfrm>
              <a:off x="813008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4" name="任意多边形: 形状 283">
              <a:extLst>
                <a:ext uri="{FF2B5EF4-FFF2-40B4-BE49-F238E27FC236}">
                  <a16:creationId xmlns:a16="http://schemas.microsoft.com/office/drawing/2014/main" id="{4095107A-7581-4216-B80B-B518A5BBE61D}"/>
                </a:ext>
              </a:extLst>
            </p:cNvPr>
            <p:cNvSpPr/>
            <p:nvPr/>
          </p:nvSpPr>
          <p:spPr bwMode="auto">
            <a:xfrm>
              <a:off x="8255067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3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5" name="任意多边形: 形状 284">
              <a:extLst>
                <a:ext uri="{FF2B5EF4-FFF2-40B4-BE49-F238E27FC236}">
                  <a16:creationId xmlns:a16="http://schemas.microsoft.com/office/drawing/2014/main" id="{A5FC092F-68F8-47DB-A06E-0F50F521005D}"/>
                </a:ext>
              </a:extLst>
            </p:cNvPr>
            <p:cNvSpPr/>
            <p:nvPr/>
          </p:nvSpPr>
          <p:spPr bwMode="auto">
            <a:xfrm>
              <a:off x="8383131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6" name="任意多边形: 形状 285">
              <a:extLst>
                <a:ext uri="{FF2B5EF4-FFF2-40B4-BE49-F238E27FC236}">
                  <a16:creationId xmlns:a16="http://schemas.microsoft.com/office/drawing/2014/main" id="{6D0B8CE9-6F17-446B-A460-4F1C96F9674B}"/>
                </a:ext>
              </a:extLst>
            </p:cNvPr>
            <p:cNvSpPr/>
            <p:nvPr/>
          </p:nvSpPr>
          <p:spPr bwMode="auto">
            <a:xfrm>
              <a:off x="8506566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2 w 31"/>
                <a:gd name="T3" fmla="*/ 0 h 17"/>
                <a:gd name="T4" fmla="*/ 2 w 31"/>
                <a:gd name="T5" fmla="*/ 9 h 17"/>
                <a:gd name="T6" fmla="*/ 19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1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7" name="任意多边形: 形状 286">
              <a:extLst>
                <a:ext uri="{FF2B5EF4-FFF2-40B4-BE49-F238E27FC236}">
                  <a16:creationId xmlns:a16="http://schemas.microsoft.com/office/drawing/2014/main" id="{4F548203-2C62-4934-9FAD-99B2F9F6B1A8}"/>
                </a:ext>
              </a:extLst>
            </p:cNvPr>
            <p:cNvSpPr/>
            <p:nvPr/>
          </p:nvSpPr>
          <p:spPr bwMode="auto">
            <a:xfrm>
              <a:off x="8630002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19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7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19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8" name="任意多边形: 形状 287">
              <a:extLst>
                <a:ext uri="{FF2B5EF4-FFF2-40B4-BE49-F238E27FC236}">
                  <a16:creationId xmlns:a16="http://schemas.microsoft.com/office/drawing/2014/main" id="{AA0EF7EC-3E50-4DD2-ADCC-35DB905F61D4}"/>
                </a:ext>
              </a:extLst>
            </p:cNvPr>
            <p:cNvSpPr/>
            <p:nvPr/>
          </p:nvSpPr>
          <p:spPr bwMode="auto">
            <a:xfrm>
              <a:off x="8754981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9" name="任意多边形: 形状 288">
              <a:extLst>
                <a:ext uri="{FF2B5EF4-FFF2-40B4-BE49-F238E27FC236}">
                  <a16:creationId xmlns:a16="http://schemas.microsoft.com/office/drawing/2014/main" id="{D024E5A4-AF6A-425C-9A1F-056F92153E7E}"/>
                </a:ext>
              </a:extLst>
            </p:cNvPr>
            <p:cNvSpPr/>
            <p:nvPr/>
          </p:nvSpPr>
          <p:spPr bwMode="auto">
            <a:xfrm>
              <a:off x="8878417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0" name="任意多边形: 形状 289">
              <a:extLst>
                <a:ext uri="{FF2B5EF4-FFF2-40B4-BE49-F238E27FC236}">
                  <a16:creationId xmlns:a16="http://schemas.microsoft.com/office/drawing/2014/main" id="{F0A988BE-CADD-4851-B701-13B7E7E0210D}"/>
                </a:ext>
              </a:extLst>
            </p:cNvPr>
            <p:cNvSpPr/>
            <p:nvPr/>
          </p:nvSpPr>
          <p:spPr bwMode="auto">
            <a:xfrm>
              <a:off x="900339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2 w 32"/>
                <a:gd name="T3" fmla="*/ 0 h 17"/>
                <a:gd name="T4" fmla="*/ 2 w 32"/>
                <a:gd name="T5" fmla="*/ 9 h 17"/>
                <a:gd name="T6" fmla="*/ 20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2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1" name="任意多边形: 形状 290">
              <a:extLst>
                <a:ext uri="{FF2B5EF4-FFF2-40B4-BE49-F238E27FC236}">
                  <a16:creationId xmlns:a16="http://schemas.microsoft.com/office/drawing/2014/main" id="{5D5F30AB-6F88-42ED-82E0-2ECBE56D4534}"/>
                </a:ext>
              </a:extLst>
            </p:cNvPr>
            <p:cNvSpPr/>
            <p:nvPr/>
          </p:nvSpPr>
          <p:spPr bwMode="auto">
            <a:xfrm>
              <a:off x="9126831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2" name="任意多边形: 形状 291">
              <a:extLst>
                <a:ext uri="{FF2B5EF4-FFF2-40B4-BE49-F238E27FC236}">
                  <a16:creationId xmlns:a16="http://schemas.microsoft.com/office/drawing/2014/main" id="{6BBF42AD-AF01-4C66-A415-B25362A298D3}"/>
                </a:ext>
              </a:extLst>
            </p:cNvPr>
            <p:cNvSpPr/>
            <p:nvPr/>
          </p:nvSpPr>
          <p:spPr bwMode="auto">
            <a:xfrm>
              <a:off x="9250267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3" name="任意多边形: 形状 292">
              <a:extLst>
                <a:ext uri="{FF2B5EF4-FFF2-40B4-BE49-F238E27FC236}">
                  <a16:creationId xmlns:a16="http://schemas.microsoft.com/office/drawing/2014/main" id="{BAE9DAEE-06B4-483C-9CC0-CAA154A03FA4}"/>
                </a:ext>
              </a:extLst>
            </p:cNvPr>
            <p:cNvSpPr/>
            <p:nvPr/>
          </p:nvSpPr>
          <p:spPr bwMode="auto">
            <a:xfrm>
              <a:off x="9375246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1" y="17"/>
                  </a:cubicBezTo>
                  <a:cubicBezTo>
                    <a:pt x="29" y="17"/>
                    <a:pt x="33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4" name="任意多边形: 形状 293">
              <a:extLst>
                <a:ext uri="{FF2B5EF4-FFF2-40B4-BE49-F238E27FC236}">
                  <a16:creationId xmlns:a16="http://schemas.microsoft.com/office/drawing/2014/main" id="{B9ED2D40-7DF0-484E-ABD4-503783223B1C}"/>
                </a:ext>
              </a:extLst>
            </p:cNvPr>
            <p:cNvSpPr/>
            <p:nvPr/>
          </p:nvSpPr>
          <p:spPr bwMode="auto">
            <a:xfrm>
              <a:off x="949868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3 w 33"/>
                <a:gd name="T5" fmla="*/ 9 h 17"/>
                <a:gd name="T6" fmla="*/ 2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5" name="任意多边形: 形状 294">
              <a:extLst>
                <a:ext uri="{FF2B5EF4-FFF2-40B4-BE49-F238E27FC236}">
                  <a16:creationId xmlns:a16="http://schemas.microsoft.com/office/drawing/2014/main" id="{22FE7DA7-1197-48D4-9D88-D24A5A080492}"/>
                </a:ext>
              </a:extLst>
            </p:cNvPr>
            <p:cNvSpPr/>
            <p:nvPr/>
          </p:nvSpPr>
          <p:spPr bwMode="auto">
            <a:xfrm>
              <a:off x="962366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6" name="任意多边形: 形状 295">
              <a:extLst>
                <a:ext uri="{FF2B5EF4-FFF2-40B4-BE49-F238E27FC236}">
                  <a16:creationId xmlns:a16="http://schemas.microsoft.com/office/drawing/2014/main" id="{34CF76FF-0CE9-4782-8695-762FC92E3043}"/>
                </a:ext>
              </a:extLst>
            </p:cNvPr>
            <p:cNvSpPr/>
            <p:nvPr/>
          </p:nvSpPr>
          <p:spPr bwMode="auto">
            <a:xfrm>
              <a:off x="9747095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7" name="任意多边形: 形状 296">
              <a:extLst>
                <a:ext uri="{FF2B5EF4-FFF2-40B4-BE49-F238E27FC236}">
                  <a16:creationId xmlns:a16="http://schemas.microsoft.com/office/drawing/2014/main" id="{F904E355-9FEC-4D70-BFF1-60F18964E57A}"/>
                </a:ext>
              </a:extLst>
            </p:cNvPr>
            <p:cNvSpPr/>
            <p:nvPr/>
          </p:nvSpPr>
          <p:spPr bwMode="auto">
            <a:xfrm>
              <a:off x="987053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8" name="任意多边形: 形状 297">
              <a:extLst>
                <a:ext uri="{FF2B5EF4-FFF2-40B4-BE49-F238E27FC236}">
                  <a16:creationId xmlns:a16="http://schemas.microsoft.com/office/drawing/2014/main" id="{44D5E091-F389-440E-A480-1563E4BC3DA3}"/>
                </a:ext>
              </a:extLst>
            </p:cNvPr>
            <p:cNvSpPr/>
            <p:nvPr/>
          </p:nvSpPr>
          <p:spPr bwMode="auto">
            <a:xfrm>
              <a:off x="999551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2 w 34"/>
                <a:gd name="T3" fmla="*/ 0 h 17"/>
                <a:gd name="T4" fmla="*/ 3 w 34"/>
                <a:gd name="T5" fmla="*/ 9 h 17"/>
                <a:gd name="T6" fmla="*/ 23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6" y="13"/>
                    <a:pt x="15" y="17"/>
                    <a:pt x="23" y="17"/>
                  </a:cubicBezTo>
                  <a:cubicBezTo>
                    <a:pt x="31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9" name="任意多边形: 形状 298">
              <a:extLst>
                <a:ext uri="{FF2B5EF4-FFF2-40B4-BE49-F238E27FC236}">
                  <a16:creationId xmlns:a16="http://schemas.microsoft.com/office/drawing/2014/main" id="{1837B450-50D2-467E-A5AF-9EC5A864347D}"/>
                </a:ext>
              </a:extLst>
            </p:cNvPr>
            <p:cNvSpPr/>
            <p:nvPr/>
          </p:nvSpPr>
          <p:spPr bwMode="auto">
            <a:xfrm>
              <a:off x="10118946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12 w 35"/>
                <a:gd name="T3" fmla="*/ 0 h 17"/>
                <a:gd name="T4" fmla="*/ 4 w 35"/>
                <a:gd name="T5" fmla="*/ 9 h 17"/>
                <a:gd name="T6" fmla="*/ 23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4" y="9"/>
                  </a:cubicBezTo>
                  <a:cubicBezTo>
                    <a:pt x="7" y="13"/>
                    <a:pt x="15" y="17"/>
                    <a:pt x="23" y="17"/>
                  </a:cubicBezTo>
                  <a:cubicBezTo>
                    <a:pt x="31" y="17"/>
                    <a:pt x="35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0" name="任意多边形: 形状 299">
              <a:extLst>
                <a:ext uri="{FF2B5EF4-FFF2-40B4-BE49-F238E27FC236}">
                  <a16:creationId xmlns:a16="http://schemas.microsoft.com/office/drawing/2014/main" id="{2F93D2D9-95E1-48CE-B5CC-864A4F423AC2}"/>
                </a:ext>
              </a:extLst>
            </p:cNvPr>
            <p:cNvSpPr/>
            <p:nvPr/>
          </p:nvSpPr>
          <p:spPr bwMode="auto">
            <a:xfrm>
              <a:off x="6648859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2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1" name="任意多边形: 形状 300">
              <a:extLst>
                <a:ext uri="{FF2B5EF4-FFF2-40B4-BE49-F238E27FC236}">
                  <a16:creationId xmlns:a16="http://schemas.microsoft.com/office/drawing/2014/main" id="{69AAC398-55AC-49F9-BC86-0648DCA7ED37}"/>
                </a:ext>
              </a:extLst>
            </p:cNvPr>
            <p:cNvSpPr/>
            <p:nvPr/>
          </p:nvSpPr>
          <p:spPr bwMode="auto">
            <a:xfrm>
              <a:off x="6776924" y="1953855"/>
              <a:ext cx="106464" cy="63261"/>
            </a:xfrm>
            <a:custGeom>
              <a:avLst/>
              <a:gdLst>
                <a:gd name="T0" fmla="*/ 29 w 29"/>
                <a:gd name="T1" fmla="*/ 8 h 17"/>
                <a:gd name="T2" fmla="*/ 13 w 29"/>
                <a:gd name="T3" fmla="*/ 0 h 17"/>
                <a:gd name="T4" fmla="*/ 0 w 29"/>
                <a:gd name="T5" fmla="*/ 8 h 17"/>
                <a:gd name="T6" fmla="*/ 16 w 29"/>
                <a:gd name="T7" fmla="*/ 17 h 17"/>
                <a:gd name="T8" fmla="*/ 29 w 29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29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2" name="任意多边形: 形状 301">
              <a:extLst>
                <a:ext uri="{FF2B5EF4-FFF2-40B4-BE49-F238E27FC236}">
                  <a16:creationId xmlns:a16="http://schemas.microsoft.com/office/drawing/2014/main" id="{73373263-1582-4640-A698-F8D6FA82C98C}"/>
                </a:ext>
              </a:extLst>
            </p:cNvPr>
            <p:cNvSpPr/>
            <p:nvPr/>
          </p:nvSpPr>
          <p:spPr bwMode="auto">
            <a:xfrm>
              <a:off x="6900360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4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3" name="任意多边形: 形状 302">
              <a:extLst>
                <a:ext uri="{FF2B5EF4-FFF2-40B4-BE49-F238E27FC236}">
                  <a16:creationId xmlns:a16="http://schemas.microsoft.com/office/drawing/2014/main" id="{CF286B8A-DB65-4F73-B5C7-A1A48E0C8B8A}"/>
                </a:ext>
              </a:extLst>
            </p:cNvPr>
            <p:cNvSpPr/>
            <p:nvPr/>
          </p:nvSpPr>
          <p:spPr bwMode="auto">
            <a:xfrm>
              <a:off x="70284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0 w 30"/>
                <a:gd name="T5" fmla="*/ 8 h 17"/>
                <a:gd name="T6" fmla="*/ 16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8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4" name="任意多边形: 形状 303">
              <a:extLst>
                <a:ext uri="{FF2B5EF4-FFF2-40B4-BE49-F238E27FC236}">
                  <a16:creationId xmlns:a16="http://schemas.microsoft.com/office/drawing/2014/main" id="{C83EA682-C6E9-4CBB-98D0-FC5EBB79A7BB}"/>
                </a:ext>
              </a:extLst>
            </p:cNvPr>
            <p:cNvSpPr/>
            <p:nvPr/>
          </p:nvSpPr>
          <p:spPr bwMode="auto">
            <a:xfrm>
              <a:off x="7153403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5" name="任意多边形: 形状 304">
              <a:extLst>
                <a:ext uri="{FF2B5EF4-FFF2-40B4-BE49-F238E27FC236}">
                  <a16:creationId xmlns:a16="http://schemas.microsoft.com/office/drawing/2014/main" id="{FE58301C-2FFA-4919-B573-66D4B1AFBFEA}"/>
                </a:ext>
              </a:extLst>
            </p:cNvPr>
            <p:cNvSpPr/>
            <p:nvPr/>
          </p:nvSpPr>
          <p:spPr bwMode="auto">
            <a:xfrm>
              <a:off x="7279924" y="1953855"/>
              <a:ext cx="109550" cy="63261"/>
            </a:xfrm>
            <a:custGeom>
              <a:avLst/>
              <a:gdLst>
                <a:gd name="T0" fmla="*/ 29 w 30"/>
                <a:gd name="T1" fmla="*/ 8 h 17"/>
                <a:gd name="T2" fmla="*/ 13 w 30"/>
                <a:gd name="T3" fmla="*/ 0 h 17"/>
                <a:gd name="T4" fmla="*/ 1 w 30"/>
                <a:gd name="T5" fmla="*/ 8 h 17"/>
                <a:gd name="T6" fmla="*/ 17 w 30"/>
                <a:gd name="T7" fmla="*/ 17 h 17"/>
                <a:gd name="T8" fmla="*/ 29 w 30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9" y="17"/>
                    <a:pt x="17" y="17"/>
                  </a:cubicBezTo>
                  <a:cubicBezTo>
                    <a:pt x="25" y="17"/>
                    <a:pt x="30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6" name="任意多边形: 形状 305">
              <a:extLst>
                <a:ext uri="{FF2B5EF4-FFF2-40B4-BE49-F238E27FC236}">
                  <a16:creationId xmlns:a16="http://schemas.microsoft.com/office/drawing/2014/main" id="{0EA5B3FC-5DE6-4EFD-940D-5201E448B50D}"/>
                </a:ext>
              </a:extLst>
            </p:cNvPr>
            <p:cNvSpPr/>
            <p:nvPr/>
          </p:nvSpPr>
          <p:spPr bwMode="auto">
            <a:xfrm>
              <a:off x="74049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7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2" y="13"/>
                    <a:pt x="10" y="17"/>
                    <a:pt x="17" y="17"/>
                  </a:cubicBezTo>
                  <a:cubicBezTo>
                    <a:pt x="25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7" name="任意多边形: 形状 306">
              <a:extLst>
                <a:ext uri="{FF2B5EF4-FFF2-40B4-BE49-F238E27FC236}">
                  <a16:creationId xmlns:a16="http://schemas.microsoft.com/office/drawing/2014/main" id="{52171983-62E8-472C-BD66-A319D3E408E6}"/>
                </a:ext>
              </a:extLst>
            </p:cNvPr>
            <p:cNvSpPr/>
            <p:nvPr/>
          </p:nvSpPr>
          <p:spPr bwMode="auto">
            <a:xfrm>
              <a:off x="7528338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4 w 31"/>
                <a:gd name="T3" fmla="*/ 0 h 17"/>
                <a:gd name="T4" fmla="*/ 2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8" name="任意多边形: 形状 307">
              <a:extLst>
                <a:ext uri="{FF2B5EF4-FFF2-40B4-BE49-F238E27FC236}">
                  <a16:creationId xmlns:a16="http://schemas.microsoft.com/office/drawing/2014/main" id="{036E7C39-4C84-4CEB-ADAA-BFB6D97D6840}"/>
                </a:ext>
              </a:extLst>
            </p:cNvPr>
            <p:cNvSpPr/>
            <p:nvPr/>
          </p:nvSpPr>
          <p:spPr bwMode="auto">
            <a:xfrm>
              <a:off x="7656403" y="1953855"/>
              <a:ext cx="112636" cy="63261"/>
            </a:xfrm>
            <a:custGeom>
              <a:avLst/>
              <a:gdLst>
                <a:gd name="T0" fmla="*/ 29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29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9" name="任意多边形: 形状 308">
              <a:extLst>
                <a:ext uri="{FF2B5EF4-FFF2-40B4-BE49-F238E27FC236}">
                  <a16:creationId xmlns:a16="http://schemas.microsoft.com/office/drawing/2014/main" id="{A203A338-EB55-4616-9C84-5E70A9E663C7}"/>
                </a:ext>
              </a:extLst>
            </p:cNvPr>
            <p:cNvSpPr/>
            <p:nvPr/>
          </p:nvSpPr>
          <p:spPr bwMode="auto">
            <a:xfrm>
              <a:off x="7779839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0" name="任意多边形: 形状 309">
              <a:extLst>
                <a:ext uri="{FF2B5EF4-FFF2-40B4-BE49-F238E27FC236}">
                  <a16:creationId xmlns:a16="http://schemas.microsoft.com/office/drawing/2014/main" id="{43C6E520-7800-4F02-A859-D0A169B5145B}"/>
                </a:ext>
              </a:extLst>
            </p:cNvPr>
            <p:cNvSpPr/>
            <p:nvPr/>
          </p:nvSpPr>
          <p:spPr bwMode="auto">
            <a:xfrm>
              <a:off x="7907903" y="1953855"/>
              <a:ext cx="112636" cy="63261"/>
            </a:xfrm>
            <a:custGeom>
              <a:avLst/>
              <a:gdLst>
                <a:gd name="T0" fmla="*/ 30 w 31"/>
                <a:gd name="T1" fmla="*/ 8 h 17"/>
                <a:gd name="T2" fmla="*/ 13 w 31"/>
                <a:gd name="T3" fmla="*/ 0 h 17"/>
                <a:gd name="T4" fmla="*/ 1 w 31"/>
                <a:gd name="T5" fmla="*/ 8 h 17"/>
                <a:gd name="T6" fmla="*/ 18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8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1" name="任意多边形: 形状 310">
              <a:extLst>
                <a:ext uri="{FF2B5EF4-FFF2-40B4-BE49-F238E27FC236}">
                  <a16:creationId xmlns:a16="http://schemas.microsoft.com/office/drawing/2014/main" id="{F8A2B588-2CC6-415B-B544-AD4F1CDB6F1B}"/>
                </a:ext>
              </a:extLst>
            </p:cNvPr>
            <p:cNvSpPr/>
            <p:nvPr/>
          </p:nvSpPr>
          <p:spPr bwMode="auto">
            <a:xfrm>
              <a:off x="80328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2" name="任意多边形: 形状 311">
              <a:extLst>
                <a:ext uri="{FF2B5EF4-FFF2-40B4-BE49-F238E27FC236}">
                  <a16:creationId xmlns:a16="http://schemas.microsoft.com/office/drawing/2014/main" id="{54A6E2D6-5EC2-428B-9356-A73202408555}"/>
                </a:ext>
              </a:extLst>
            </p:cNvPr>
            <p:cNvSpPr/>
            <p:nvPr/>
          </p:nvSpPr>
          <p:spPr bwMode="auto">
            <a:xfrm>
              <a:off x="8159404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3" name="任意多边形: 形状 312">
              <a:extLst>
                <a:ext uri="{FF2B5EF4-FFF2-40B4-BE49-F238E27FC236}">
                  <a16:creationId xmlns:a16="http://schemas.microsoft.com/office/drawing/2014/main" id="{B5A4539F-7D12-481C-9BA3-743280EDC2C0}"/>
                </a:ext>
              </a:extLst>
            </p:cNvPr>
            <p:cNvSpPr/>
            <p:nvPr/>
          </p:nvSpPr>
          <p:spPr bwMode="auto">
            <a:xfrm>
              <a:off x="8284382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4" name="任意多边形: 形状 313">
              <a:extLst>
                <a:ext uri="{FF2B5EF4-FFF2-40B4-BE49-F238E27FC236}">
                  <a16:creationId xmlns:a16="http://schemas.microsoft.com/office/drawing/2014/main" id="{544E7F76-FCEF-4085-960E-71DCCB480DB7}"/>
                </a:ext>
              </a:extLst>
            </p:cNvPr>
            <p:cNvSpPr/>
            <p:nvPr/>
          </p:nvSpPr>
          <p:spPr bwMode="auto">
            <a:xfrm>
              <a:off x="84124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19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1" y="17"/>
                    <a:pt x="19" y="17"/>
                  </a:cubicBezTo>
                  <a:cubicBezTo>
                    <a:pt x="27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5" name="任意多边形: 形状 314">
              <a:extLst>
                <a:ext uri="{FF2B5EF4-FFF2-40B4-BE49-F238E27FC236}">
                  <a16:creationId xmlns:a16="http://schemas.microsoft.com/office/drawing/2014/main" id="{D6B09A6A-2D87-408D-A81F-F541BF540955}"/>
                </a:ext>
              </a:extLst>
            </p:cNvPr>
            <p:cNvSpPr/>
            <p:nvPr/>
          </p:nvSpPr>
          <p:spPr bwMode="auto">
            <a:xfrm>
              <a:off x="8535883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3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6" name="任意多边形: 形状 315">
              <a:extLst>
                <a:ext uri="{FF2B5EF4-FFF2-40B4-BE49-F238E27FC236}">
                  <a16:creationId xmlns:a16="http://schemas.microsoft.com/office/drawing/2014/main" id="{6FBF4168-53FE-441A-82ED-598E48373999}"/>
                </a:ext>
              </a:extLst>
            </p:cNvPr>
            <p:cNvSpPr/>
            <p:nvPr/>
          </p:nvSpPr>
          <p:spPr bwMode="auto">
            <a:xfrm>
              <a:off x="8663947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7" name="任意多边形: 形状 316">
              <a:extLst>
                <a:ext uri="{FF2B5EF4-FFF2-40B4-BE49-F238E27FC236}">
                  <a16:creationId xmlns:a16="http://schemas.microsoft.com/office/drawing/2014/main" id="{A664BDD9-5132-4BA4-BAB6-F6210D7CCE77}"/>
                </a:ext>
              </a:extLst>
            </p:cNvPr>
            <p:cNvSpPr/>
            <p:nvPr/>
          </p:nvSpPr>
          <p:spPr bwMode="auto">
            <a:xfrm>
              <a:off x="87873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0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8"/>
                  </a:cubicBezTo>
                  <a:cubicBezTo>
                    <a:pt x="4" y="13"/>
                    <a:pt x="13" y="17"/>
                    <a:pt x="20" y="17"/>
                  </a:cubicBezTo>
                  <a:cubicBezTo>
                    <a:pt x="28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8" name="任意多边形: 形状 317">
              <a:extLst>
                <a:ext uri="{FF2B5EF4-FFF2-40B4-BE49-F238E27FC236}">
                  <a16:creationId xmlns:a16="http://schemas.microsoft.com/office/drawing/2014/main" id="{64F62A1C-3E44-44C0-AEE3-0C620113D33C}"/>
                </a:ext>
              </a:extLst>
            </p:cNvPr>
            <p:cNvSpPr/>
            <p:nvPr/>
          </p:nvSpPr>
          <p:spPr bwMode="auto">
            <a:xfrm>
              <a:off x="8915448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2 w 32"/>
                <a:gd name="T3" fmla="*/ 0 h 17"/>
                <a:gd name="T4" fmla="*/ 2 w 32"/>
                <a:gd name="T5" fmla="*/ 8 h 17"/>
                <a:gd name="T6" fmla="*/ 20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2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9" name="任意多边形: 形状 318">
              <a:extLst>
                <a:ext uri="{FF2B5EF4-FFF2-40B4-BE49-F238E27FC236}">
                  <a16:creationId xmlns:a16="http://schemas.microsoft.com/office/drawing/2014/main" id="{A4C7BF1E-1811-42AB-BC4E-7CF6749ADA5D}"/>
                </a:ext>
              </a:extLst>
            </p:cNvPr>
            <p:cNvSpPr/>
            <p:nvPr/>
          </p:nvSpPr>
          <p:spPr bwMode="auto">
            <a:xfrm>
              <a:off x="903888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5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0" name="任意多边形: 形状 319">
              <a:extLst>
                <a:ext uri="{FF2B5EF4-FFF2-40B4-BE49-F238E27FC236}">
                  <a16:creationId xmlns:a16="http://schemas.microsoft.com/office/drawing/2014/main" id="{26B5D1C4-AFB5-46DC-8704-9E82EF91D9E7}"/>
                </a:ext>
              </a:extLst>
            </p:cNvPr>
            <p:cNvSpPr/>
            <p:nvPr/>
          </p:nvSpPr>
          <p:spPr bwMode="auto">
            <a:xfrm>
              <a:off x="9166947" y="1953855"/>
              <a:ext cx="120350" cy="63261"/>
            </a:xfrm>
            <a:custGeom>
              <a:avLst/>
              <a:gdLst>
                <a:gd name="T0" fmla="*/ 30 w 33"/>
                <a:gd name="T1" fmla="*/ 8 h 17"/>
                <a:gd name="T2" fmla="*/ 12 w 33"/>
                <a:gd name="T3" fmla="*/ 0 h 17"/>
                <a:gd name="T4" fmla="*/ 2 w 33"/>
                <a:gd name="T5" fmla="*/ 8 h 17"/>
                <a:gd name="T6" fmla="*/ 21 w 33"/>
                <a:gd name="T7" fmla="*/ 17 h 17"/>
                <a:gd name="T8" fmla="*/ 30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8"/>
                  </a:moveTo>
                  <a:cubicBezTo>
                    <a:pt x="28" y="4"/>
                    <a:pt x="19" y="0"/>
                    <a:pt x="12" y="0"/>
                  </a:cubicBezTo>
                  <a:cubicBezTo>
                    <a:pt x="4" y="0"/>
                    <a:pt x="0" y="4"/>
                    <a:pt x="2" y="8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1" name="任意多边形: 形状 320">
              <a:extLst>
                <a:ext uri="{FF2B5EF4-FFF2-40B4-BE49-F238E27FC236}">
                  <a16:creationId xmlns:a16="http://schemas.microsoft.com/office/drawing/2014/main" id="{200A0682-361F-49F7-AACD-862D58BBCB05}"/>
                </a:ext>
              </a:extLst>
            </p:cNvPr>
            <p:cNvSpPr/>
            <p:nvPr/>
          </p:nvSpPr>
          <p:spPr bwMode="auto">
            <a:xfrm>
              <a:off x="6659660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4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2" name="任意多边形: 形状 321">
              <a:extLst>
                <a:ext uri="{FF2B5EF4-FFF2-40B4-BE49-F238E27FC236}">
                  <a16:creationId xmlns:a16="http://schemas.microsoft.com/office/drawing/2014/main" id="{FC8914B2-4CBD-4A4D-A159-086DDFD961BB}"/>
                </a:ext>
              </a:extLst>
            </p:cNvPr>
            <p:cNvSpPr/>
            <p:nvPr/>
          </p:nvSpPr>
          <p:spPr bwMode="auto">
            <a:xfrm>
              <a:off x="6787724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1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3" name="任意多边形: 形状 322">
              <a:extLst>
                <a:ext uri="{FF2B5EF4-FFF2-40B4-BE49-F238E27FC236}">
                  <a16:creationId xmlns:a16="http://schemas.microsoft.com/office/drawing/2014/main" id="{178E3B98-62E9-4685-A9AC-14AC0FE5BAD2}"/>
                </a:ext>
              </a:extLst>
            </p:cNvPr>
            <p:cNvSpPr/>
            <p:nvPr/>
          </p:nvSpPr>
          <p:spPr bwMode="auto">
            <a:xfrm>
              <a:off x="6915789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8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4" name="任意多边形: 形状 323">
              <a:extLst>
                <a:ext uri="{FF2B5EF4-FFF2-40B4-BE49-F238E27FC236}">
                  <a16:creationId xmlns:a16="http://schemas.microsoft.com/office/drawing/2014/main" id="{3FE8FDA7-A392-4E2A-86EC-D610F56F6126}"/>
                </a:ext>
              </a:extLst>
            </p:cNvPr>
            <p:cNvSpPr/>
            <p:nvPr/>
          </p:nvSpPr>
          <p:spPr bwMode="auto">
            <a:xfrm>
              <a:off x="7043853" y="2031003"/>
              <a:ext cx="109550" cy="61718"/>
            </a:xfrm>
            <a:custGeom>
              <a:avLst/>
              <a:gdLst>
                <a:gd name="T0" fmla="*/ 29 w 30"/>
                <a:gd name="T1" fmla="*/ 9 h 17"/>
                <a:gd name="T2" fmla="*/ 13 w 30"/>
                <a:gd name="T3" fmla="*/ 0 h 17"/>
                <a:gd name="T4" fmla="*/ 0 w 30"/>
                <a:gd name="T5" fmla="*/ 9 h 17"/>
                <a:gd name="T6" fmla="*/ 16 w 30"/>
                <a:gd name="T7" fmla="*/ 17 h 17"/>
                <a:gd name="T8" fmla="*/ 29 w 30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7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3"/>
                    <a:pt x="9" y="17"/>
                    <a:pt x="16" y="17"/>
                  </a:cubicBezTo>
                  <a:cubicBezTo>
                    <a:pt x="24" y="17"/>
                    <a:pt x="30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5" name="任意多边形: 形状 324">
              <a:extLst>
                <a:ext uri="{FF2B5EF4-FFF2-40B4-BE49-F238E27FC236}">
                  <a16:creationId xmlns:a16="http://schemas.microsoft.com/office/drawing/2014/main" id="{A4CA352F-7EE8-4F12-B9C8-A2D1BF47F8B4}"/>
                </a:ext>
              </a:extLst>
            </p:cNvPr>
            <p:cNvSpPr/>
            <p:nvPr/>
          </p:nvSpPr>
          <p:spPr bwMode="auto">
            <a:xfrm>
              <a:off x="716728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5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6" name="任意多边形: 形状 325">
              <a:extLst>
                <a:ext uri="{FF2B5EF4-FFF2-40B4-BE49-F238E27FC236}">
                  <a16:creationId xmlns:a16="http://schemas.microsoft.com/office/drawing/2014/main" id="{D197141C-0EDA-4F97-B783-2D84A3A2B9E6}"/>
                </a:ext>
              </a:extLst>
            </p:cNvPr>
            <p:cNvSpPr/>
            <p:nvPr/>
          </p:nvSpPr>
          <p:spPr bwMode="auto">
            <a:xfrm>
              <a:off x="729535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4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7" name="任意多边形: 形状 326">
              <a:extLst>
                <a:ext uri="{FF2B5EF4-FFF2-40B4-BE49-F238E27FC236}">
                  <a16:creationId xmlns:a16="http://schemas.microsoft.com/office/drawing/2014/main" id="{263F2569-D4BA-4B00-9AB7-605ADD60E67E}"/>
                </a:ext>
              </a:extLst>
            </p:cNvPr>
            <p:cNvSpPr/>
            <p:nvPr/>
          </p:nvSpPr>
          <p:spPr bwMode="auto">
            <a:xfrm>
              <a:off x="7423418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8" name="任意多边形: 形状 327">
              <a:extLst>
                <a:ext uri="{FF2B5EF4-FFF2-40B4-BE49-F238E27FC236}">
                  <a16:creationId xmlns:a16="http://schemas.microsoft.com/office/drawing/2014/main" id="{CB4AD70D-4977-4F3A-B3B2-F564E4337153}"/>
                </a:ext>
              </a:extLst>
            </p:cNvPr>
            <p:cNvSpPr/>
            <p:nvPr/>
          </p:nvSpPr>
          <p:spPr bwMode="auto">
            <a:xfrm>
              <a:off x="7549940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9" name="任意多边形: 形状 328">
              <a:extLst>
                <a:ext uri="{FF2B5EF4-FFF2-40B4-BE49-F238E27FC236}">
                  <a16:creationId xmlns:a16="http://schemas.microsoft.com/office/drawing/2014/main" id="{F71419CC-8419-4489-BBF8-4A5613170B2D}"/>
                </a:ext>
              </a:extLst>
            </p:cNvPr>
            <p:cNvSpPr/>
            <p:nvPr/>
          </p:nvSpPr>
          <p:spPr bwMode="auto">
            <a:xfrm>
              <a:off x="7678005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0" name="任意多边形: 形状 329">
              <a:extLst>
                <a:ext uri="{FF2B5EF4-FFF2-40B4-BE49-F238E27FC236}">
                  <a16:creationId xmlns:a16="http://schemas.microsoft.com/office/drawing/2014/main" id="{DB96727B-E5E5-4051-A633-84F78A263CF6}"/>
                </a:ext>
              </a:extLst>
            </p:cNvPr>
            <p:cNvSpPr/>
            <p:nvPr/>
          </p:nvSpPr>
          <p:spPr bwMode="auto">
            <a:xfrm>
              <a:off x="7806069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0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1" name="任意多边形: 形状 330">
              <a:extLst>
                <a:ext uri="{FF2B5EF4-FFF2-40B4-BE49-F238E27FC236}">
                  <a16:creationId xmlns:a16="http://schemas.microsoft.com/office/drawing/2014/main" id="{4A051B83-E75E-4D95-AC7B-B64354C4E35C}"/>
                </a:ext>
              </a:extLst>
            </p:cNvPr>
            <p:cNvSpPr/>
            <p:nvPr/>
          </p:nvSpPr>
          <p:spPr bwMode="auto">
            <a:xfrm>
              <a:off x="7934134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3 w 31"/>
                <a:gd name="T3" fmla="*/ 0 h 17"/>
                <a:gd name="T4" fmla="*/ 1 w 31"/>
                <a:gd name="T5" fmla="*/ 9 h 17"/>
                <a:gd name="T6" fmla="*/ 18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8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2" name="任意多边形: 形状 331">
              <a:extLst>
                <a:ext uri="{FF2B5EF4-FFF2-40B4-BE49-F238E27FC236}">
                  <a16:creationId xmlns:a16="http://schemas.microsoft.com/office/drawing/2014/main" id="{519784B4-DD74-45FF-9AEE-F2E41FFF92D7}"/>
                </a:ext>
              </a:extLst>
            </p:cNvPr>
            <p:cNvSpPr/>
            <p:nvPr/>
          </p:nvSpPr>
          <p:spPr bwMode="auto">
            <a:xfrm>
              <a:off x="8060655" y="2031003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2 w 31"/>
                <a:gd name="T3" fmla="*/ 0 h 17"/>
                <a:gd name="T4" fmla="*/ 1 w 31"/>
                <a:gd name="T5" fmla="*/ 9 h 17"/>
                <a:gd name="T6" fmla="*/ 19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3"/>
                    <a:pt x="11" y="17"/>
                    <a:pt x="19" y="17"/>
                  </a:cubicBezTo>
                  <a:cubicBezTo>
                    <a:pt x="26" y="17"/>
                    <a:pt x="31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3" name="任意多边形: 形状 332">
              <a:extLst>
                <a:ext uri="{FF2B5EF4-FFF2-40B4-BE49-F238E27FC236}">
                  <a16:creationId xmlns:a16="http://schemas.microsoft.com/office/drawing/2014/main" id="{01FC16D7-998E-4A0B-A2E8-16C8CF2B0F1A}"/>
                </a:ext>
              </a:extLst>
            </p:cNvPr>
            <p:cNvSpPr/>
            <p:nvPr/>
          </p:nvSpPr>
          <p:spPr bwMode="auto">
            <a:xfrm>
              <a:off x="818563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4" name="任意多边形: 形状 333">
              <a:extLst>
                <a:ext uri="{FF2B5EF4-FFF2-40B4-BE49-F238E27FC236}">
                  <a16:creationId xmlns:a16="http://schemas.microsoft.com/office/drawing/2014/main" id="{129DF341-F670-459B-952A-9C61789096CE}"/>
                </a:ext>
              </a:extLst>
            </p:cNvPr>
            <p:cNvSpPr/>
            <p:nvPr/>
          </p:nvSpPr>
          <p:spPr bwMode="auto">
            <a:xfrm>
              <a:off x="831369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5" name="任意多边形: 形状 334">
              <a:extLst>
                <a:ext uri="{FF2B5EF4-FFF2-40B4-BE49-F238E27FC236}">
                  <a16:creationId xmlns:a16="http://schemas.microsoft.com/office/drawing/2014/main" id="{A4A55A9E-0806-4C3A-A513-A7ACCCB47C22}"/>
                </a:ext>
              </a:extLst>
            </p:cNvPr>
            <p:cNvSpPr/>
            <p:nvPr/>
          </p:nvSpPr>
          <p:spPr bwMode="auto">
            <a:xfrm>
              <a:off x="844022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6" name="任意多边形: 形状 335">
              <a:extLst>
                <a:ext uri="{FF2B5EF4-FFF2-40B4-BE49-F238E27FC236}">
                  <a16:creationId xmlns:a16="http://schemas.microsoft.com/office/drawing/2014/main" id="{EF39DD6E-33B5-4208-BBCC-A56ED8AD0C76}"/>
                </a:ext>
              </a:extLst>
            </p:cNvPr>
            <p:cNvSpPr/>
            <p:nvPr/>
          </p:nvSpPr>
          <p:spPr bwMode="auto">
            <a:xfrm>
              <a:off x="8568284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3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7" name="任意多边形: 形状 336">
              <a:extLst>
                <a:ext uri="{FF2B5EF4-FFF2-40B4-BE49-F238E27FC236}">
                  <a16:creationId xmlns:a16="http://schemas.microsoft.com/office/drawing/2014/main" id="{F51B6053-F59D-4636-B760-0918D78F8560}"/>
                </a:ext>
              </a:extLst>
            </p:cNvPr>
            <p:cNvSpPr/>
            <p:nvPr/>
          </p:nvSpPr>
          <p:spPr bwMode="auto">
            <a:xfrm>
              <a:off x="8696349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8" name="任意多边形: 形状 337">
              <a:extLst>
                <a:ext uri="{FF2B5EF4-FFF2-40B4-BE49-F238E27FC236}">
                  <a16:creationId xmlns:a16="http://schemas.microsoft.com/office/drawing/2014/main" id="{83A932F0-ED6E-4EBC-BA50-ADFC4DC7F52E}"/>
                </a:ext>
              </a:extLst>
            </p:cNvPr>
            <p:cNvSpPr/>
            <p:nvPr/>
          </p:nvSpPr>
          <p:spPr bwMode="auto">
            <a:xfrm>
              <a:off x="882441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0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2" y="17"/>
                    <a:pt x="20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9" name="任意多边形: 形状 338">
              <a:extLst>
                <a:ext uri="{FF2B5EF4-FFF2-40B4-BE49-F238E27FC236}">
                  <a16:creationId xmlns:a16="http://schemas.microsoft.com/office/drawing/2014/main" id="{0C15E907-EE16-4327-8ED4-E6E65FC7A6E8}"/>
                </a:ext>
              </a:extLst>
            </p:cNvPr>
            <p:cNvSpPr/>
            <p:nvPr/>
          </p:nvSpPr>
          <p:spPr bwMode="auto">
            <a:xfrm>
              <a:off x="895247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8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0" name="任意多边形: 形状 339">
              <a:extLst>
                <a:ext uri="{FF2B5EF4-FFF2-40B4-BE49-F238E27FC236}">
                  <a16:creationId xmlns:a16="http://schemas.microsoft.com/office/drawing/2014/main" id="{C3CA4800-8B6E-4FBD-9ED2-ED9F37BB3D99}"/>
                </a:ext>
              </a:extLst>
            </p:cNvPr>
            <p:cNvSpPr/>
            <p:nvPr/>
          </p:nvSpPr>
          <p:spPr bwMode="auto">
            <a:xfrm>
              <a:off x="9079000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12 w 33"/>
                <a:gd name="T3" fmla="*/ 0 h 17"/>
                <a:gd name="T4" fmla="*/ 2 w 33"/>
                <a:gd name="T5" fmla="*/ 9 h 17"/>
                <a:gd name="T6" fmla="*/ 21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3"/>
                    <a:pt x="13" y="17"/>
                    <a:pt x="21" y="17"/>
                  </a:cubicBezTo>
                  <a:cubicBezTo>
                    <a:pt x="29" y="17"/>
                    <a:pt x="33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1" name="任意多边形: 形状 340">
              <a:extLst>
                <a:ext uri="{FF2B5EF4-FFF2-40B4-BE49-F238E27FC236}">
                  <a16:creationId xmlns:a16="http://schemas.microsoft.com/office/drawing/2014/main" id="{97BA9D84-8506-4BC9-8448-F18CF633DED9}"/>
                </a:ext>
              </a:extLst>
            </p:cNvPr>
            <p:cNvSpPr/>
            <p:nvPr/>
          </p:nvSpPr>
          <p:spPr bwMode="auto">
            <a:xfrm>
              <a:off x="9203978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13 w 34"/>
                <a:gd name="T3" fmla="*/ 0 h 17"/>
                <a:gd name="T4" fmla="*/ 3 w 34"/>
                <a:gd name="T5" fmla="*/ 9 h 17"/>
                <a:gd name="T6" fmla="*/ 2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29" y="4"/>
                    <a:pt x="20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3"/>
                    <a:pt x="14" y="17"/>
                    <a:pt x="22" y="17"/>
                  </a:cubicBezTo>
                  <a:cubicBezTo>
                    <a:pt x="30" y="17"/>
                    <a:pt x="34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2" name="任意多边形: 形状 341">
              <a:extLst>
                <a:ext uri="{FF2B5EF4-FFF2-40B4-BE49-F238E27FC236}">
                  <a16:creationId xmlns:a16="http://schemas.microsoft.com/office/drawing/2014/main" id="{AF992E8A-3CC1-490A-A646-8EF189A779A3}"/>
                </a:ext>
              </a:extLst>
            </p:cNvPr>
            <p:cNvSpPr/>
            <p:nvPr/>
          </p:nvSpPr>
          <p:spPr bwMode="auto">
            <a:xfrm>
              <a:off x="667046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4 w 30"/>
                <a:gd name="T3" fmla="*/ 0 h 18"/>
                <a:gd name="T4" fmla="*/ 0 w 30"/>
                <a:gd name="T5" fmla="*/ 9 h 18"/>
                <a:gd name="T6" fmla="*/ 16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8"/>
                    <a:pt x="16" y="18"/>
                  </a:cubicBezTo>
                  <a:cubicBezTo>
                    <a:pt x="24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3" name="任意多边形: 形状 342">
              <a:extLst>
                <a:ext uri="{FF2B5EF4-FFF2-40B4-BE49-F238E27FC236}">
                  <a16:creationId xmlns:a16="http://schemas.microsoft.com/office/drawing/2014/main" id="{E5343EFF-E705-4C26-97AE-D44B9CF3EF55}"/>
                </a:ext>
              </a:extLst>
            </p:cNvPr>
            <p:cNvSpPr/>
            <p:nvPr/>
          </p:nvSpPr>
          <p:spPr bwMode="auto">
            <a:xfrm>
              <a:off x="6798525" y="2108150"/>
              <a:ext cx="109550" cy="64804"/>
            </a:xfrm>
            <a:custGeom>
              <a:avLst/>
              <a:gdLst>
                <a:gd name="T0" fmla="*/ 30 w 30"/>
                <a:gd name="T1" fmla="*/ 9 h 18"/>
                <a:gd name="T2" fmla="*/ 14 w 30"/>
                <a:gd name="T3" fmla="*/ 0 h 18"/>
                <a:gd name="T4" fmla="*/ 1 w 30"/>
                <a:gd name="T5" fmla="*/ 9 h 18"/>
                <a:gd name="T6" fmla="*/ 17 w 30"/>
                <a:gd name="T7" fmla="*/ 18 h 18"/>
                <a:gd name="T8" fmla="*/ 30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4" name="任意多边形: 形状 343">
              <a:extLst>
                <a:ext uri="{FF2B5EF4-FFF2-40B4-BE49-F238E27FC236}">
                  <a16:creationId xmlns:a16="http://schemas.microsoft.com/office/drawing/2014/main" id="{87290817-D09E-4E2D-9431-5A1194CB0843}"/>
                </a:ext>
              </a:extLst>
            </p:cNvPr>
            <p:cNvSpPr/>
            <p:nvPr/>
          </p:nvSpPr>
          <p:spPr bwMode="auto">
            <a:xfrm>
              <a:off x="692658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5" name="任意多边形: 形状 344">
              <a:extLst>
                <a:ext uri="{FF2B5EF4-FFF2-40B4-BE49-F238E27FC236}">
                  <a16:creationId xmlns:a16="http://schemas.microsoft.com/office/drawing/2014/main" id="{A252963F-5C8B-4BB8-9187-7034C50F7802}"/>
                </a:ext>
              </a:extLst>
            </p:cNvPr>
            <p:cNvSpPr/>
            <p:nvPr/>
          </p:nvSpPr>
          <p:spPr bwMode="auto">
            <a:xfrm>
              <a:off x="7057740" y="2108150"/>
              <a:ext cx="109550" cy="64804"/>
            </a:xfrm>
            <a:custGeom>
              <a:avLst/>
              <a:gdLst>
                <a:gd name="T0" fmla="*/ 29 w 30"/>
                <a:gd name="T1" fmla="*/ 9 h 18"/>
                <a:gd name="T2" fmla="*/ 13 w 30"/>
                <a:gd name="T3" fmla="*/ 0 h 18"/>
                <a:gd name="T4" fmla="*/ 0 w 30"/>
                <a:gd name="T5" fmla="*/ 9 h 18"/>
                <a:gd name="T6" fmla="*/ 17 w 30"/>
                <a:gd name="T7" fmla="*/ 18 h 18"/>
                <a:gd name="T8" fmla="*/ 29 w 30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8">
                  <a:moveTo>
                    <a:pt x="29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1" y="14"/>
                    <a:pt x="9" y="18"/>
                    <a:pt x="17" y="18"/>
                  </a:cubicBezTo>
                  <a:cubicBezTo>
                    <a:pt x="25" y="18"/>
                    <a:pt x="30" y="14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6" name="任意多边形: 形状 345">
              <a:extLst>
                <a:ext uri="{FF2B5EF4-FFF2-40B4-BE49-F238E27FC236}">
                  <a16:creationId xmlns:a16="http://schemas.microsoft.com/office/drawing/2014/main" id="{9BD466FD-CCF9-4997-B606-AAE5CAEFA5F4}"/>
                </a:ext>
              </a:extLst>
            </p:cNvPr>
            <p:cNvSpPr/>
            <p:nvPr/>
          </p:nvSpPr>
          <p:spPr bwMode="auto">
            <a:xfrm>
              <a:off x="718580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7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8"/>
                    <a:pt x="17" y="18"/>
                  </a:cubicBezTo>
                  <a:cubicBezTo>
                    <a:pt x="25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7" name="任意多边形: 形状 346">
              <a:extLst>
                <a:ext uri="{FF2B5EF4-FFF2-40B4-BE49-F238E27FC236}">
                  <a16:creationId xmlns:a16="http://schemas.microsoft.com/office/drawing/2014/main" id="{7FC92B83-DCAE-47C2-96BB-7D1FACFE5C59}"/>
                </a:ext>
              </a:extLst>
            </p:cNvPr>
            <p:cNvSpPr/>
            <p:nvPr/>
          </p:nvSpPr>
          <p:spPr bwMode="auto">
            <a:xfrm>
              <a:off x="7313869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4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8" name="任意多边形: 形状 347">
              <a:extLst>
                <a:ext uri="{FF2B5EF4-FFF2-40B4-BE49-F238E27FC236}">
                  <a16:creationId xmlns:a16="http://schemas.microsoft.com/office/drawing/2014/main" id="{91771805-447C-46AA-8E67-D53E18872241}"/>
                </a:ext>
              </a:extLst>
            </p:cNvPr>
            <p:cNvSpPr/>
            <p:nvPr/>
          </p:nvSpPr>
          <p:spPr bwMode="auto">
            <a:xfrm>
              <a:off x="7440391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8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0" y="18"/>
                    <a:pt x="18" y="18"/>
                  </a:cubicBezTo>
                  <a:cubicBezTo>
                    <a:pt x="26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9" name="任意多边形: 形状 348">
              <a:extLst>
                <a:ext uri="{FF2B5EF4-FFF2-40B4-BE49-F238E27FC236}">
                  <a16:creationId xmlns:a16="http://schemas.microsoft.com/office/drawing/2014/main" id="{C9F06728-6ECF-4F73-9B60-651EC0F59374}"/>
                </a:ext>
              </a:extLst>
            </p:cNvPr>
            <p:cNvSpPr/>
            <p:nvPr/>
          </p:nvSpPr>
          <p:spPr bwMode="auto">
            <a:xfrm>
              <a:off x="7573084" y="2108150"/>
              <a:ext cx="112636" cy="64804"/>
            </a:xfrm>
            <a:custGeom>
              <a:avLst/>
              <a:gdLst>
                <a:gd name="T0" fmla="*/ 30 w 31"/>
                <a:gd name="T1" fmla="*/ 9 h 18"/>
                <a:gd name="T2" fmla="*/ 13 w 31"/>
                <a:gd name="T3" fmla="*/ 0 h 18"/>
                <a:gd name="T4" fmla="*/ 1 w 31"/>
                <a:gd name="T5" fmla="*/ 9 h 18"/>
                <a:gd name="T6" fmla="*/ 18 w 31"/>
                <a:gd name="T7" fmla="*/ 18 h 18"/>
                <a:gd name="T8" fmla="*/ 30 w 31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8"/>
                    <a:pt x="18" y="18"/>
                  </a:cubicBezTo>
                  <a:cubicBezTo>
                    <a:pt x="26" y="18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0" name="任意多边形: 形状 349">
              <a:extLst>
                <a:ext uri="{FF2B5EF4-FFF2-40B4-BE49-F238E27FC236}">
                  <a16:creationId xmlns:a16="http://schemas.microsoft.com/office/drawing/2014/main" id="{B2B7F339-EEAF-431B-8ACE-8CE333C51238}"/>
                </a:ext>
              </a:extLst>
            </p:cNvPr>
            <p:cNvSpPr/>
            <p:nvPr/>
          </p:nvSpPr>
          <p:spPr bwMode="auto">
            <a:xfrm>
              <a:off x="7699606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0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1" name="任意多边形: 形状 350">
              <a:extLst>
                <a:ext uri="{FF2B5EF4-FFF2-40B4-BE49-F238E27FC236}">
                  <a16:creationId xmlns:a16="http://schemas.microsoft.com/office/drawing/2014/main" id="{20BFBA03-F748-4945-95A3-C81FBA3177DA}"/>
                </a:ext>
              </a:extLst>
            </p:cNvPr>
            <p:cNvSpPr/>
            <p:nvPr/>
          </p:nvSpPr>
          <p:spPr bwMode="auto">
            <a:xfrm>
              <a:off x="7827670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4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29" y="4"/>
                    <a:pt x="21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2" name="任意多边形: 形状 351">
              <a:extLst>
                <a:ext uri="{FF2B5EF4-FFF2-40B4-BE49-F238E27FC236}">
                  <a16:creationId xmlns:a16="http://schemas.microsoft.com/office/drawing/2014/main" id="{A9FF30DA-5202-447A-9A08-34B9E019DCFF}"/>
                </a:ext>
              </a:extLst>
            </p:cNvPr>
            <p:cNvSpPr/>
            <p:nvPr/>
          </p:nvSpPr>
          <p:spPr bwMode="auto">
            <a:xfrm>
              <a:off x="7958821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3" name="任意多边形: 形状 352">
              <a:extLst>
                <a:ext uri="{FF2B5EF4-FFF2-40B4-BE49-F238E27FC236}">
                  <a16:creationId xmlns:a16="http://schemas.microsoft.com/office/drawing/2014/main" id="{C5A3C4CB-A79E-484F-81AE-8118F816537E}"/>
                </a:ext>
              </a:extLst>
            </p:cNvPr>
            <p:cNvSpPr/>
            <p:nvPr/>
          </p:nvSpPr>
          <p:spPr bwMode="auto">
            <a:xfrm>
              <a:off x="8086885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3 w 32"/>
                <a:gd name="T3" fmla="*/ 0 h 18"/>
                <a:gd name="T4" fmla="*/ 2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4" name="任意多边形: 形状 353">
              <a:extLst>
                <a:ext uri="{FF2B5EF4-FFF2-40B4-BE49-F238E27FC236}">
                  <a16:creationId xmlns:a16="http://schemas.microsoft.com/office/drawing/2014/main" id="{BC5E797E-9C25-469A-BCCC-95450F0C9C48}"/>
                </a:ext>
              </a:extLst>
            </p:cNvPr>
            <p:cNvSpPr/>
            <p:nvPr/>
          </p:nvSpPr>
          <p:spPr bwMode="auto">
            <a:xfrm>
              <a:off x="8214950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5" name="任意多边形: 形状 354">
              <a:extLst>
                <a:ext uri="{FF2B5EF4-FFF2-40B4-BE49-F238E27FC236}">
                  <a16:creationId xmlns:a16="http://schemas.microsoft.com/office/drawing/2014/main" id="{86DEE2F2-2578-4451-911E-D811928B5D8A}"/>
                </a:ext>
              </a:extLst>
            </p:cNvPr>
            <p:cNvSpPr/>
            <p:nvPr/>
          </p:nvSpPr>
          <p:spPr bwMode="auto">
            <a:xfrm>
              <a:off x="8346100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2 w 32"/>
                <a:gd name="T3" fmla="*/ 0 h 18"/>
                <a:gd name="T4" fmla="*/ 1 w 32"/>
                <a:gd name="T5" fmla="*/ 9 h 18"/>
                <a:gd name="T6" fmla="*/ 19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1" y="9"/>
                  </a:cubicBezTo>
                  <a:cubicBezTo>
                    <a:pt x="3" y="14"/>
                    <a:pt x="11" y="18"/>
                    <a:pt x="19" y="18"/>
                  </a:cubicBezTo>
                  <a:cubicBezTo>
                    <a:pt x="27" y="18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6" name="任意多边形: 形状 355">
              <a:extLst>
                <a:ext uri="{FF2B5EF4-FFF2-40B4-BE49-F238E27FC236}">
                  <a16:creationId xmlns:a16="http://schemas.microsoft.com/office/drawing/2014/main" id="{10A0FB00-C7A1-42A6-8D62-6717B340EB6D}"/>
                </a:ext>
              </a:extLst>
            </p:cNvPr>
            <p:cNvSpPr/>
            <p:nvPr/>
          </p:nvSpPr>
          <p:spPr bwMode="auto">
            <a:xfrm>
              <a:off x="8474165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0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0" y="18"/>
                  </a:cubicBezTo>
                  <a:cubicBezTo>
                    <a:pt x="28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7" name="任意多边形: 形状 356">
              <a:extLst>
                <a:ext uri="{FF2B5EF4-FFF2-40B4-BE49-F238E27FC236}">
                  <a16:creationId xmlns:a16="http://schemas.microsoft.com/office/drawing/2014/main" id="{9D8BA302-A6E4-4699-9AC8-2F6D3F698F32}"/>
                </a:ext>
              </a:extLst>
            </p:cNvPr>
            <p:cNvSpPr/>
            <p:nvPr/>
          </p:nvSpPr>
          <p:spPr bwMode="auto">
            <a:xfrm>
              <a:off x="8600687" y="2108150"/>
              <a:ext cx="121893" cy="64804"/>
            </a:xfrm>
            <a:custGeom>
              <a:avLst/>
              <a:gdLst>
                <a:gd name="T0" fmla="*/ 31 w 33"/>
                <a:gd name="T1" fmla="*/ 9 h 18"/>
                <a:gd name="T2" fmla="*/ 13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8" name="任意多边形: 形状 357">
              <a:extLst>
                <a:ext uri="{FF2B5EF4-FFF2-40B4-BE49-F238E27FC236}">
                  <a16:creationId xmlns:a16="http://schemas.microsoft.com/office/drawing/2014/main" id="{0F4B5242-2BEF-4844-8933-0B464011B3BA}"/>
                </a:ext>
              </a:extLst>
            </p:cNvPr>
            <p:cNvSpPr/>
            <p:nvPr/>
          </p:nvSpPr>
          <p:spPr bwMode="auto">
            <a:xfrm>
              <a:off x="8728751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9" name="任意多边形: 形状 358">
              <a:extLst>
                <a:ext uri="{FF2B5EF4-FFF2-40B4-BE49-F238E27FC236}">
                  <a16:creationId xmlns:a16="http://schemas.microsoft.com/office/drawing/2014/main" id="{16F04B70-D7A4-4B87-ACA5-43FCDBC0BC26}"/>
                </a:ext>
              </a:extLst>
            </p:cNvPr>
            <p:cNvSpPr/>
            <p:nvPr/>
          </p:nvSpPr>
          <p:spPr bwMode="auto">
            <a:xfrm>
              <a:off x="885990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12 w 33"/>
                <a:gd name="T3" fmla="*/ 0 h 18"/>
                <a:gd name="T4" fmla="*/ 2 w 33"/>
                <a:gd name="T5" fmla="*/ 9 h 18"/>
                <a:gd name="T6" fmla="*/ 21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8"/>
                    <a:pt x="21" y="18"/>
                  </a:cubicBezTo>
                  <a:cubicBezTo>
                    <a:pt x="29" y="18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0" name="任意多边形: 形状 359">
              <a:extLst>
                <a:ext uri="{FF2B5EF4-FFF2-40B4-BE49-F238E27FC236}">
                  <a16:creationId xmlns:a16="http://schemas.microsoft.com/office/drawing/2014/main" id="{0EFA1CC2-F395-431F-BC04-EB708D313A9F}"/>
                </a:ext>
              </a:extLst>
            </p:cNvPr>
            <p:cNvSpPr/>
            <p:nvPr/>
          </p:nvSpPr>
          <p:spPr bwMode="auto">
            <a:xfrm>
              <a:off x="8987966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1" name="任意多边形: 形状 360">
              <a:extLst>
                <a:ext uri="{FF2B5EF4-FFF2-40B4-BE49-F238E27FC236}">
                  <a16:creationId xmlns:a16="http://schemas.microsoft.com/office/drawing/2014/main" id="{1F56BAC9-0387-4995-9A00-E3FA29C61C46}"/>
                </a:ext>
              </a:extLst>
            </p:cNvPr>
            <p:cNvSpPr/>
            <p:nvPr/>
          </p:nvSpPr>
          <p:spPr bwMode="auto">
            <a:xfrm>
              <a:off x="9116031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13 w 34"/>
                <a:gd name="T3" fmla="*/ 0 h 18"/>
                <a:gd name="T4" fmla="*/ 3 w 34"/>
                <a:gd name="T5" fmla="*/ 9 h 18"/>
                <a:gd name="T6" fmla="*/ 2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8"/>
                    <a:pt x="22" y="18"/>
                  </a:cubicBezTo>
                  <a:cubicBezTo>
                    <a:pt x="30" y="18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2" name="任意多边形: 形状 361">
              <a:extLst>
                <a:ext uri="{FF2B5EF4-FFF2-40B4-BE49-F238E27FC236}">
                  <a16:creationId xmlns:a16="http://schemas.microsoft.com/office/drawing/2014/main" id="{D29241A4-B58E-4565-A470-F49BEA0C1070}"/>
                </a:ext>
              </a:extLst>
            </p:cNvPr>
            <p:cNvSpPr/>
            <p:nvPr/>
          </p:nvSpPr>
          <p:spPr bwMode="auto">
            <a:xfrm>
              <a:off x="9247181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12 w 34"/>
                <a:gd name="T3" fmla="*/ 0 h 18"/>
                <a:gd name="T4" fmla="*/ 2 w 34"/>
                <a:gd name="T5" fmla="*/ 9 h 18"/>
                <a:gd name="T6" fmla="*/ 21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28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8"/>
                    <a:pt x="21" y="18"/>
                  </a:cubicBezTo>
                  <a:cubicBezTo>
                    <a:pt x="29" y="18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3" name="任意多边形: 形状 362">
              <a:extLst>
                <a:ext uri="{FF2B5EF4-FFF2-40B4-BE49-F238E27FC236}">
                  <a16:creationId xmlns:a16="http://schemas.microsoft.com/office/drawing/2014/main" id="{F29CFCAD-3962-448E-A10E-AD8AAF68A0DA}"/>
                </a:ext>
              </a:extLst>
            </p:cNvPr>
            <p:cNvSpPr/>
            <p:nvPr/>
          </p:nvSpPr>
          <p:spPr bwMode="auto">
            <a:xfrm>
              <a:off x="6678175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4" name="任意多边形: 形状 363">
              <a:extLst>
                <a:ext uri="{FF2B5EF4-FFF2-40B4-BE49-F238E27FC236}">
                  <a16:creationId xmlns:a16="http://schemas.microsoft.com/office/drawing/2014/main" id="{9F717303-DABE-40B3-99F3-9374E5EA47F1}"/>
                </a:ext>
              </a:extLst>
            </p:cNvPr>
            <p:cNvSpPr/>
            <p:nvPr/>
          </p:nvSpPr>
          <p:spPr bwMode="auto">
            <a:xfrm>
              <a:off x="6809325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5" name="任意多边形: 形状 364">
              <a:extLst>
                <a:ext uri="{FF2B5EF4-FFF2-40B4-BE49-F238E27FC236}">
                  <a16:creationId xmlns:a16="http://schemas.microsoft.com/office/drawing/2014/main" id="{7DE20B2E-D1C0-4EF9-98C6-EC7F67F52B93}"/>
                </a:ext>
              </a:extLst>
            </p:cNvPr>
            <p:cNvSpPr/>
            <p:nvPr/>
          </p:nvSpPr>
          <p:spPr bwMode="auto">
            <a:xfrm>
              <a:off x="6940476" y="2188383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6" name="任意多边形: 形状 365">
              <a:extLst>
                <a:ext uri="{FF2B5EF4-FFF2-40B4-BE49-F238E27FC236}">
                  <a16:creationId xmlns:a16="http://schemas.microsoft.com/office/drawing/2014/main" id="{74228324-1079-490F-A912-05BE6C4ECFA0}"/>
                </a:ext>
              </a:extLst>
            </p:cNvPr>
            <p:cNvSpPr/>
            <p:nvPr/>
          </p:nvSpPr>
          <p:spPr bwMode="auto">
            <a:xfrm>
              <a:off x="7073170" y="2188383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3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7" name="任意多边形: 形状 366">
              <a:extLst>
                <a:ext uri="{FF2B5EF4-FFF2-40B4-BE49-F238E27FC236}">
                  <a16:creationId xmlns:a16="http://schemas.microsoft.com/office/drawing/2014/main" id="{3A2A40C6-6F16-44FD-B786-CB02660C52A1}"/>
                </a:ext>
              </a:extLst>
            </p:cNvPr>
            <p:cNvSpPr/>
            <p:nvPr/>
          </p:nvSpPr>
          <p:spPr bwMode="auto">
            <a:xfrm>
              <a:off x="719969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8" name="任意多边形: 形状 367">
              <a:extLst>
                <a:ext uri="{FF2B5EF4-FFF2-40B4-BE49-F238E27FC236}">
                  <a16:creationId xmlns:a16="http://schemas.microsoft.com/office/drawing/2014/main" id="{BE0DF1E3-FF01-4B0B-96C2-A62557A9C128}"/>
                </a:ext>
              </a:extLst>
            </p:cNvPr>
            <p:cNvSpPr/>
            <p:nvPr/>
          </p:nvSpPr>
          <p:spPr bwMode="auto">
            <a:xfrm>
              <a:off x="7330841" y="2188383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9" name="任意多边形: 形状 368">
              <a:extLst>
                <a:ext uri="{FF2B5EF4-FFF2-40B4-BE49-F238E27FC236}">
                  <a16:creationId xmlns:a16="http://schemas.microsoft.com/office/drawing/2014/main" id="{4AF038A3-E06B-4B87-B78B-9B2E1DADA4B3}"/>
                </a:ext>
              </a:extLst>
            </p:cNvPr>
            <p:cNvSpPr/>
            <p:nvPr/>
          </p:nvSpPr>
          <p:spPr bwMode="auto">
            <a:xfrm>
              <a:off x="746353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0" name="任意多边形: 形状 369">
              <a:extLst>
                <a:ext uri="{FF2B5EF4-FFF2-40B4-BE49-F238E27FC236}">
                  <a16:creationId xmlns:a16="http://schemas.microsoft.com/office/drawing/2014/main" id="{5CBCF750-C6EF-4B3B-B961-9123ABA356E1}"/>
                </a:ext>
              </a:extLst>
            </p:cNvPr>
            <p:cNvSpPr/>
            <p:nvPr/>
          </p:nvSpPr>
          <p:spPr bwMode="auto">
            <a:xfrm>
              <a:off x="7594685" y="2188383"/>
              <a:ext cx="115721" cy="69433"/>
            </a:xfrm>
            <a:custGeom>
              <a:avLst/>
              <a:gdLst>
                <a:gd name="T0" fmla="*/ 30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1" name="任意多边形: 形状 370">
              <a:extLst>
                <a:ext uri="{FF2B5EF4-FFF2-40B4-BE49-F238E27FC236}">
                  <a16:creationId xmlns:a16="http://schemas.microsoft.com/office/drawing/2014/main" id="{93114DAB-50E5-43F6-95C6-FAF073C3793A}"/>
                </a:ext>
              </a:extLst>
            </p:cNvPr>
            <p:cNvSpPr/>
            <p:nvPr/>
          </p:nvSpPr>
          <p:spPr bwMode="auto">
            <a:xfrm>
              <a:off x="772275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2" name="任意多边形: 形状 371">
              <a:extLst>
                <a:ext uri="{FF2B5EF4-FFF2-40B4-BE49-F238E27FC236}">
                  <a16:creationId xmlns:a16="http://schemas.microsoft.com/office/drawing/2014/main" id="{7B26E155-DC8C-4E98-AF22-5711C6DD6CB6}"/>
                </a:ext>
              </a:extLst>
            </p:cNvPr>
            <p:cNvSpPr/>
            <p:nvPr/>
          </p:nvSpPr>
          <p:spPr bwMode="auto">
            <a:xfrm>
              <a:off x="785390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2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3" name="任意多边形: 形状 372">
              <a:extLst>
                <a:ext uri="{FF2B5EF4-FFF2-40B4-BE49-F238E27FC236}">
                  <a16:creationId xmlns:a16="http://schemas.microsoft.com/office/drawing/2014/main" id="{BD6757B3-120B-49BF-9AF2-F4EA17F9BF0A}"/>
                </a:ext>
              </a:extLst>
            </p:cNvPr>
            <p:cNvSpPr/>
            <p:nvPr/>
          </p:nvSpPr>
          <p:spPr bwMode="auto">
            <a:xfrm>
              <a:off x="7985050" y="2188383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4" name="任意多边形: 形状 373">
              <a:extLst>
                <a:ext uri="{FF2B5EF4-FFF2-40B4-BE49-F238E27FC236}">
                  <a16:creationId xmlns:a16="http://schemas.microsoft.com/office/drawing/2014/main" id="{0A4F72F9-E1FE-4FFE-A82D-6B6FA3138C49}"/>
                </a:ext>
              </a:extLst>
            </p:cNvPr>
            <p:cNvSpPr/>
            <p:nvPr/>
          </p:nvSpPr>
          <p:spPr bwMode="auto">
            <a:xfrm>
              <a:off x="811311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5" name="任意多边形: 形状 374">
              <a:extLst>
                <a:ext uri="{FF2B5EF4-FFF2-40B4-BE49-F238E27FC236}">
                  <a16:creationId xmlns:a16="http://schemas.microsoft.com/office/drawing/2014/main" id="{B31C77C2-5D8D-45FA-95CA-6751AE29DE88}"/>
                </a:ext>
              </a:extLst>
            </p:cNvPr>
            <p:cNvSpPr/>
            <p:nvPr/>
          </p:nvSpPr>
          <p:spPr bwMode="auto">
            <a:xfrm>
              <a:off x="8244265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6" name="任意多边形: 形状 375">
              <a:extLst>
                <a:ext uri="{FF2B5EF4-FFF2-40B4-BE49-F238E27FC236}">
                  <a16:creationId xmlns:a16="http://schemas.microsoft.com/office/drawing/2014/main" id="{EF4DD33F-7B92-4DEA-A7FD-0D8B4EB3F6D3}"/>
                </a:ext>
              </a:extLst>
            </p:cNvPr>
            <p:cNvSpPr/>
            <p:nvPr/>
          </p:nvSpPr>
          <p:spPr bwMode="auto">
            <a:xfrm>
              <a:off x="837541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7" name="任意多边形: 形状 376">
              <a:extLst>
                <a:ext uri="{FF2B5EF4-FFF2-40B4-BE49-F238E27FC236}">
                  <a16:creationId xmlns:a16="http://schemas.microsoft.com/office/drawing/2014/main" id="{0FBC600F-8E49-4BD7-A412-E2B48D64C08B}"/>
                </a:ext>
              </a:extLst>
            </p:cNvPr>
            <p:cNvSpPr/>
            <p:nvPr/>
          </p:nvSpPr>
          <p:spPr bwMode="auto">
            <a:xfrm>
              <a:off x="850656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8" name="任意多边形: 形状 377">
              <a:extLst>
                <a:ext uri="{FF2B5EF4-FFF2-40B4-BE49-F238E27FC236}">
                  <a16:creationId xmlns:a16="http://schemas.microsoft.com/office/drawing/2014/main" id="{4ED2113A-2771-439B-95CF-90236F208F16}"/>
                </a:ext>
              </a:extLst>
            </p:cNvPr>
            <p:cNvSpPr/>
            <p:nvPr/>
          </p:nvSpPr>
          <p:spPr bwMode="auto">
            <a:xfrm>
              <a:off x="863463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3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9" name="任意多边形: 形状 378">
              <a:extLst>
                <a:ext uri="{FF2B5EF4-FFF2-40B4-BE49-F238E27FC236}">
                  <a16:creationId xmlns:a16="http://schemas.microsoft.com/office/drawing/2014/main" id="{BA403E65-11BA-4E0D-B0BE-68DFC33CE5D2}"/>
                </a:ext>
              </a:extLst>
            </p:cNvPr>
            <p:cNvSpPr/>
            <p:nvPr/>
          </p:nvSpPr>
          <p:spPr bwMode="auto">
            <a:xfrm>
              <a:off x="8765781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0" name="任意多边形: 形状 379">
              <a:extLst>
                <a:ext uri="{FF2B5EF4-FFF2-40B4-BE49-F238E27FC236}">
                  <a16:creationId xmlns:a16="http://schemas.microsoft.com/office/drawing/2014/main" id="{056B15ED-0F50-4418-96FE-E237BAE55EBE}"/>
                </a:ext>
              </a:extLst>
            </p:cNvPr>
            <p:cNvSpPr/>
            <p:nvPr/>
          </p:nvSpPr>
          <p:spPr bwMode="auto">
            <a:xfrm>
              <a:off x="8896932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1" name="任意多边形: 形状 380">
              <a:extLst>
                <a:ext uri="{FF2B5EF4-FFF2-40B4-BE49-F238E27FC236}">
                  <a16:creationId xmlns:a16="http://schemas.microsoft.com/office/drawing/2014/main" id="{207F96F7-4C2D-436A-BCAE-BE57A75A9B80}"/>
                </a:ext>
              </a:extLst>
            </p:cNvPr>
            <p:cNvSpPr/>
            <p:nvPr/>
          </p:nvSpPr>
          <p:spPr bwMode="auto">
            <a:xfrm>
              <a:off x="9028082" y="2188383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2" name="任意多边形: 形状 381">
              <a:extLst>
                <a:ext uri="{FF2B5EF4-FFF2-40B4-BE49-F238E27FC236}">
                  <a16:creationId xmlns:a16="http://schemas.microsoft.com/office/drawing/2014/main" id="{B1E6B0F2-0004-456C-BE57-91BE3FAE43A4}"/>
                </a:ext>
              </a:extLst>
            </p:cNvPr>
            <p:cNvSpPr/>
            <p:nvPr/>
          </p:nvSpPr>
          <p:spPr bwMode="auto">
            <a:xfrm>
              <a:off x="915614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3" name="任意多边形: 形状 382">
              <a:extLst>
                <a:ext uri="{FF2B5EF4-FFF2-40B4-BE49-F238E27FC236}">
                  <a16:creationId xmlns:a16="http://schemas.microsoft.com/office/drawing/2014/main" id="{E9C63FAA-ADEC-4A0B-9E32-10A972FEC77B}"/>
                </a:ext>
              </a:extLst>
            </p:cNvPr>
            <p:cNvSpPr/>
            <p:nvPr/>
          </p:nvSpPr>
          <p:spPr bwMode="auto">
            <a:xfrm>
              <a:off x="9287297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4" name="任意多边形: 形状 383">
              <a:extLst>
                <a:ext uri="{FF2B5EF4-FFF2-40B4-BE49-F238E27FC236}">
                  <a16:creationId xmlns:a16="http://schemas.microsoft.com/office/drawing/2014/main" id="{1F2FCCF6-8D73-469A-8990-99E13F4BBC43}"/>
                </a:ext>
              </a:extLst>
            </p:cNvPr>
            <p:cNvSpPr/>
            <p:nvPr/>
          </p:nvSpPr>
          <p:spPr bwMode="auto">
            <a:xfrm>
              <a:off x="6688975" y="2271702"/>
              <a:ext cx="114178" cy="69433"/>
            </a:xfrm>
            <a:custGeom>
              <a:avLst/>
              <a:gdLst>
                <a:gd name="T0" fmla="*/ 31 w 31"/>
                <a:gd name="T1" fmla="*/ 9 h 19"/>
                <a:gd name="T2" fmla="*/ 15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1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1" y="9"/>
                  </a:moveTo>
                  <a:cubicBezTo>
                    <a:pt x="30" y="4"/>
                    <a:pt x="23" y="0"/>
                    <a:pt x="15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5" y="19"/>
                    <a:pt x="31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5" name="任意多边形: 形状 384">
              <a:extLst>
                <a:ext uri="{FF2B5EF4-FFF2-40B4-BE49-F238E27FC236}">
                  <a16:creationId xmlns:a16="http://schemas.microsoft.com/office/drawing/2014/main" id="{CD95253B-B9F7-4D67-901E-91E2582BE24A}"/>
                </a:ext>
              </a:extLst>
            </p:cNvPr>
            <p:cNvSpPr/>
            <p:nvPr/>
          </p:nvSpPr>
          <p:spPr bwMode="auto">
            <a:xfrm>
              <a:off x="6824755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4"/>
                    <a:pt x="8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6" name="任意多边形: 形状 385">
              <a:extLst>
                <a:ext uri="{FF2B5EF4-FFF2-40B4-BE49-F238E27FC236}">
                  <a16:creationId xmlns:a16="http://schemas.microsoft.com/office/drawing/2014/main" id="{14FF81C9-66A3-476A-B5FF-2CD8050BEF6E}"/>
                </a:ext>
              </a:extLst>
            </p:cNvPr>
            <p:cNvSpPr/>
            <p:nvPr/>
          </p:nvSpPr>
          <p:spPr bwMode="auto">
            <a:xfrm>
              <a:off x="6955906" y="2271702"/>
              <a:ext cx="112636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1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1" y="14"/>
                    <a:pt x="9" y="19"/>
                    <a:pt x="17" y="19"/>
                  </a:cubicBezTo>
                  <a:cubicBezTo>
                    <a:pt x="25" y="19"/>
                    <a:pt x="31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7" name="任意多边形: 形状 386">
              <a:extLst>
                <a:ext uri="{FF2B5EF4-FFF2-40B4-BE49-F238E27FC236}">
                  <a16:creationId xmlns:a16="http://schemas.microsoft.com/office/drawing/2014/main" id="{3CF10449-2EDE-4729-A80A-CDC008E5E13D}"/>
                </a:ext>
              </a:extLst>
            </p:cNvPr>
            <p:cNvSpPr/>
            <p:nvPr/>
          </p:nvSpPr>
          <p:spPr bwMode="auto">
            <a:xfrm>
              <a:off x="7087056" y="2271702"/>
              <a:ext cx="117264" cy="69433"/>
            </a:xfrm>
            <a:custGeom>
              <a:avLst/>
              <a:gdLst>
                <a:gd name="T0" fmla="*/ 30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7 w 32"/>
                <a:gd name="T7" fmla="*/ 19 h 19"/>
                <a:gd name="T8" fmla="*/ 30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9" y="19"/>
                    <a:pt x="17" y="19"/>
                  </a:cubicBezTo>
                  <a:cubicBezTo>
                    <a:pt x="26" y="19"/>
                    <a:pt x="32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8" name="任意多边形: 形状 387">
              <a:extLst>
                <a:ext uri="{FF2B5EF4-FFF2-40B4-BE49-F238E27FC236}">
                  <a16:creationId xmlns:a16="http://schemas.microsoft.com/office/drawing/2014/main" id="{B32881F5-85CD-468F-92E9-880FC6D72784}"/>
                </a:ext>
              </a:extLst>
            </p:cNvPr>
            <p:cNvSpPr/>
            <p:nvPr/>
          </p:nvSpPr>
          <p:spPr bwMode="auto">
            <a:xfrm>
              <a:off x="721820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6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9" name="任意多边形: 形状 388">
              <a:extLst>
                <a:ext uri="{FF2B5EF4-FFF2-40B4-BE49-F238E27FC236}">
                  <a16:creationId xmlns:a16="http://schemas.microsoft.com/office/drawing/2014/main" id="{4C2C3A0D-DD17-4BD1-BD59-9EB72A475289}"/>
                </a:ext>
              </a:extLst>
            </p:cNvPr>
            <p:cNvSpPr/>
            <p:nvPr/>
          </p:nvSpPr>
          <p:spPr bwMode="auto">
            <a:xfrm>
              <a:off x="7349356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0" name="任意多边形: 形状 389">
              <a:extLst>
                <a:ext uri="{FF2B5EF4-FFF2-40B4-BE49-F238E27FC236}">
                  <a16:creationId xmlns:a16="http://schemas.microsoft.com/office/drawing/2014/main" id="{182BB91D-0838-4C27-9E42-8E3C01142E0B}"/>
                </a:ext>
              </a:extLst>
            </p:cNvPr>
            <p:cNvSpPr/>
            <p:nvPr/>
          </p:nvSpPr>
          <p:spPr bwMode="auto">
            <a:xfrm>
              <a:off x="7480507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1" name="任意多边形: 形状 390">
              <a:extLst>
                <a:ext uri="{FF2B5EF4-FFF2-40B4-BE49-F238E27FC236}">
                  <a16:creationId xmlns:a16="http://schemas.microsoft.com/office/drawing/2014/main" id="{25F914E2-F266-4795-A04A-3E6A9D94501B}"/>
                </a:ext>
              </a:extLst>
            </p:cNvPr>
            <p:cNvSpPr/>
            <p:nvPr/>
          </p:nvSpPr>
          <p:spPr bwMode="auto">
            <a:xfrm>
              <a:off x="761628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4"/>
                    <a:pt x="10" y="19"/>
                    <a:pt x="18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2" name="任意多边形: 形状 391">
              <a:extLst>
                <a:ext uri="{FF2B5EF4-FFF2-40B4-BE49-F238E27FC236}">
                  <a16:creationId xmlns:a16="http://schemas.microsoft.com/office/drawing/2014/main" id="{21AB1635-344F-478B-A2C1-AA62B05BCFFD}"/>
                </a:ext>
              </a:extLst>
            </p:cNvPr>
            <p:cNvSpPr/>
            <p:nvPr/>
          </p:nvSpPr>
          <p:spPr bwMode="auto">
            <a:xfrm>
              <a:off x="7747437" y="2271702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3 w 32"/>
                <a:gd name="T3" fmla="*/ 0 h 19"/>
                <a:gd name="T4" fmla="*/ 1 w 32"/>
                <a:gd name="T5" fmla="*/ 9 h 19"/>
                <a:gd name="T6" fmla="*/ 19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2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3" name="任意多边形: 形状 392">
              <a:extLst>
                <a:ext uri="{FF2B5EF4-FFF2-40B4-BE49-F238E27FC236}">
                  <a16:creationId xmlns:a16="http://schemas.microsoft.com/office/drawing/2014/main" id="{8FB3C538-7477-499B-ADF4-AF440D713BDA}"/>
                </a:ext>
              </a:extLst>
            </p:cNvPr>
            <p:cNvSpPr/>
            <p:nvPr/>
          </p:nvSpPr>
          <p:spPr bwMode="auto">
            <a:xfrm>
              <a:off x="787858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4"/>
                    <a:pt x="11" y="19"/>
                    <a:pt x="19" y="19"/>
                  </a:cubicBezTo>
                  <a:cubicBezTo>
                    <a:pt x="27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4" name="任意多边形: 形状 393">
              <a:extLst>
                <a:ext uri="{FF2B5EF4-FFF2-40B4-BE49-F238E27FC236}">
                  <a16:creationId xmlns:a16="http://schemas.microsoft.com/office/drawing/2014/main" id="{6B790E26-45BA-4DE0-8170-F8631D048DBA}"/>
                </a:ext>
              </a:extLst>
            </p:cNvPr>
            <p:cNvSpPr/>
            <p:nvPr/>
          </p:nvSpPr>
          <p:spPr bwMode="auto">
            <a:xfrm>
              <a:off x="800973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4"/>
                    <a:pt x="11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5" name="任意多边形: 形状 394">
              <a:extLst>
                <a:ext uri="{FF2B5EF4-FFF2-40B4-BE49-F238E27FC236}">
                  <a16:creationId xmlns:a16="http://schemas.microsoft.com/office/drawing/2014/main" id="{2BE58F56-89C9-416C-83B8-3FF121201518}"/>
                </a:ext>
              </a:extLst>
            </p:cNvPr>
            <p:cNvSpPr/>
            <p:nvPr/>
          </p:nvSpPr>
          <p:spPr bwMode="auto">
            <a:xfrm>
              <a:off x="8142431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6" name="任意多边形: 形状 395">
              <a:extLst>
                <a:ext uri="{FF2B5EF4-FFF2-40B4-BE49-F238E27FC236}">
                  <a16:creationId xmlns:a16="http://schemas.microsoft.com/office/drawing/2014/main" id="{305CE6C9-B9B0-493D-AFAA-2C6A85E089A0}"/>
                </a:ext>
              </a:extLst>
            </p:cNvPr>
            <p:cNvSpPr/>
            <p:nvPr/>
          </p:nvSpPr>
          <p:spPr bwMode="auto">
            <a:xfrm>
              <a:off x="827358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7" name="任意多边形: 形状 396">
              <a:extLst>
                <a:ext uri="{FF2B5EF4-FFF2-40B4-BE49-F238E27FC236}">
                  <a16:creationId xmlns:a16="http://schemas.microsoft.com/office/drawing/2014/main" id="{D2704C89-E4D8-4BDA-929A-EC86C7B409BB}"/>
                </a:ext>
              </a:extLst>
            </p:cNvPr>
            <p:cNvSpPr/>
            <p:nvPr/>
          </p:nvSpPr>
          <p:spPr bwMode="auto">
            <a:xfrm>
              <a:off x="8407818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8" y="19"/>
                    <a:pt x="33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8" name="任意多边形: 形状 397">
              <a:extLst>
                <a:ext uri="{FF2B5EF4-FFF2-40B4-BE49-F238E27FC236}">
                  <a16:creationId xmlns:a16="http://schemas.microsoft.com/office/drawing/2014/main" id="{9BA66B41-F1D2-42E6-BF4F-E3D8AC8AD57E}"/>
                </a:ext>
              </a:extLst>
            </p:cNvPr>
            <p:cNvSpPr/>
            <p:nvPr/>
          </p:nvSpPr>
          <p:spPr bwMode="auto">
            <a:xfrm>
              <a:off x="8538969" y="2271702"/>
              <a:ext cx="124979" cy="69433"/>
            </a:xfrm>
            <a:custGeom>
              <a:avLst/>
              <a:gdLst>
                <a:gd name="T0" fmla="*/ 31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2" y="19"/>
                    <a:pt x="20" y="19"/>
                  </a:cubicBezTo>
                  <a:cubicBezTo>
                    <a:pt x="29" y="19"/>
                    <a:pt x="34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9" name="任意多边形: 形状 398">
              <a:extLst>
                <a:ext uri="{FF2B5EF4-FFF2-40B4-BE49-F238E27FC236}">
                  <a16:creationId xmlns:a16="http://schemas.microsoft.com/office/drawing/2014/main" id="{0DF601C1-83AE-44B2-8C35-F85AB4C98B8D}"/>
                </a:ext>
              </a:extLst>
            </p:cNvPr>
            <p:cNvSpPr/>
            <p:nvPr/>
          </p:nvSpPr>
          <p:spPr bwMode="auto">
            <a:xfrm>
              <a:off x="867011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4"/>
                    <a:pt x="13" y="19"/>
                    <a:pt x="21" y="19"/>
                  </a:cubicBezTo>
                  <a:cubicBezTo>
                    <a:pt x="29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0" name="任意多边形: 形状 399">
              <a:extLst>
                <a:ext uri="{FF2B5EF4-FFF2-40B4-BE49-F238E27FC236}">
                  <a16:creationId xmlns:a16="http://schemas.microsoft.com/office/drawing/2014/main" id="{97C7EAAD-57EE-4AE8-BA25-744DDAF7400C}"/>
                </a:ext>
              </a:extLst>
            </p:cNvPr>
            <p:cNvSpPr/>
            <p:nvPr/>
          </p:nvSpPr>
          <p:spPr bwMode="auto">
            <a:xfrm>
              <a:off x="8802812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4"/>
                    <a:pt x="13" y="19"/>
                    <a:pt x="21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1" name="任意多边形: 形状 400">
              <a:extLst>
                <a:ext uri="{FF2B5EF4-FFF2-40B4-BE49-F238E27FC236}">
                  <a16:creationId xmlns:a16="http://schemas.microsoft.com/office/drawing/2014/main" id="{B7CDB1AE-0119-43EE-BA7C-E31599322537}"/>
                </a:ext>
              </a:extLst>
            </p:cNvPr>
            <p:cNvSpPr/>
            <p:nvPr/>
          </p:nvSpPr>
          <p:spPr bwMode="auto">
            <a:xfrm>
              <a:off x="8933963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2" name="任意多边形: 形状 401">
              <a:extLst>
                <a:ext uri="{FF2B5EF4-FFF2-40B4-BE49-F238E27FC236}">
                  <a16:creationId xmlns:a16="http://schemas.microsoft.com/office/drawing/2014/main" id="{8B15BD5F-3D50-403B-8948-76C87F1CB400}"/>
                </a:ext>
              </a:extLst>
            </p:cNvPr>
            <p:cNvSpPr/>
            <p:nvPr/>
          </p:nvSpPr>
          <p:spPr bwMode="auto">
            <a:xfrm>
              <a:off x="9065113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1" y="19"/>
                    <a:pt x="35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3" name="任意多边形: 形状 402">
              <a:extLst>
                <a:ext uri="{FF2B5EF4-FFF2-40B4-BE49-F238E27FC236}">
                  <a16:creationId xmlns:a16="http://schemas.microsoft.com/office/drawing/2014/main" id="{7CC043AB-54A2-4E8C-9679-5154ED6CB861}"/>
                </a:ext>
              </a:extLst>
            </p:cNvPr>
            <p:cNvSpPr/>
            <p:nvPr/>
          </p:nvSpPr>
          <p:spPr bwMode="auto">
            <a:xfrm>
              <a:off x="9199350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2 w 34"/>
                <a:gd name="T3" fmla="*/ 0 h 19"/>
                <a:gd name="T4" fmla="*/ 2 w 34"/>
                <a:gd name="T5" fmla="*/ 9 h 19"/>
                <a:gd name="T6" fmla="*/ 2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4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4" name="任意多边形: 形状 403">
              <a:extLst>
                <a:ext uri="{FF2B5EF4-FFF2-40B4-BE49-F238E27FC236}">
                  <a16:creationId xmlns:a16="http://schemas.microsoft.com/office/drawing/2014/main" id="{9E7EEAC5-FC6A-4C34-87E9-9529DC642C09}"/>
                </a:ext>
              </a:extLst>
            </p:cNvPr>
            <p:cNvSpPr/>
            <p:nvPr/>
          </p:nvSpPr>
          <p:spPr bwMode="auto">
            <a:xfrm>
              <a:off x="9330500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0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4"/>
                    <a:pt x="14" y="19"/>
                    <a:pt x="22" y="19"/>
                  </a:cubicBezTo>
                  <a:cubicBezTo>
                    <a:pt x="30" y="19"/>
                    <a:pt x="35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5" name="任意多边形: 形状 404">
              <a:extLst>
                <a:ext uri="{FF2B5EF4-FFF2-40B4-BE49-F238E27FC236}">
                  <a16:creationId xmlns:a16="http://schemas.microsoft.com/office/drawing/2014/main" id="{B5215424-4A38-4559-8CAF-4D6D49D07DA5}"/>
                </a:ext>
              </a:extLst>
            </p:cNvPr>
            <p:cNvSpPr/>
            <p:nvPr/>
          </p:nvSpPr>
          <p:spPr bwMode="auto">
            <a:xfrm>
              <a:off x="937524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3 w 35"/>
                <a:gd name="T5" fmla="*/ 9 h 19"/>
                <a:gd name="T6" fmla="*/ 2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2" y="0"/>
                  </a:cubicBezTo>
                  <a:cubicBezTo>
                    <a:pt x="4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6" name="任意多边形: 形状 405">
              <a:extLst>
                <a:ext uri="{FF2B5EF4-FFF2-40B4-BE49-F238E27FC236}">
                  <a16:creationId xmlns:a16="http://schemas.microsoft.com/office/drawing/2014/main" id="{C86A0296-A53F-41C2-89B9-859018604ECB}"/>
                </a:ext>
              </a:extLst>
            </p:cNvPr>
            <p:cNvSpPr/>
            <p:nvPr/>
          </p:nvSpPr>
          <p:spPr bwMode="auto">
            <a:xfrm>
              <a:off x="6969792" y="2356565"/>
              <a:ext cx="114178" cy="69433"/>
            </a:xfrm>
            <a:custGeom>
              <a:avLst/>
              <a:gdLst>
                <a:gd name="T0" fmla="*/ 30 w 31"/>
                <a:gd name="T1" fmla="*/ 9 h 19"/>
                <a:gd name="T2" fmla="*/ 14 w 31"/>
                <a:gd name="T3" fmla="*/ 0 h 19"/>
                <a:gd name="T4" fmla="*/ 0 w 31"/>
                <a:gd name="T5" fmla="*/ 9 h 19"/>
                <a:gd name="T6" fmla="*/ 17 w 31"/>
                <a:gd name="T7" fmla="*/ 19 h 19"/>
                <a:gd name="T8" fmla="*/ 30 w 31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">
                  <a:moveTo>
                    <a:pt x="30" y="9"/>
                  </a:moveTo>
                  <a:cubicBezTo>
                    <a:pt x="29" y="4"/>
                    <a:pt x="22" y="0"/>
                    <a:pt x="14" y="0"/>
                  </a:cubicBezTo>
                  <a:cubicBezTo>
                    <a:pt x="6" y="0"/>
                    <a:pt x="0" y="4"/>
                    <a:pt x="0" y="9"/>
                  </a:cubicBezTo>
                  <a:cubicBezTo>
                    <a:pt x="1" y="15"/>
                    <a:pt x="9" y="19"/>
                    <a:pt x="17" y="19"/>
                  </a:cubicBezTo>
                  <a:cubicBezTo>
                    <a:pt x="25" y="19"/>
                    <a:pt x="31" y="15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7" name="任意多边形: 形状 406">
              <a:extLst>
                <a:ext uri="{FF2B5EF4-FFF2-40B4-BE49-F238E27FC236}">
                  <a16:creationId xmlns:a16="http://schemas.microsoft.com/office/drawing/2014/main" id="{C90CA3BA-FB12-4CB2-AD5B-8F1F49CFF204}"/>
                </a:ext>
              </a:extLst>
            </p:cNvPr>
            <p:cNvSpPr/>
            <p:nvPr/>
          </p:nvSpPr>
          <p:spPr bwMode="auto">
            <a:xfrm>
              <a:off x="7102485" y="2356565"/>
              <a:ext cx="115721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8" name="任意多边形: 形状 407">
              <a:extLst>
                <a:ext uri="{FF2B5EF4-FFF2-40B4-BE49-F238E27FC236}">
                  <a16:creationId xmlns:a16="http://schemas.microsoft.com/office/drawing/2014/main" id="{920EABFB-DE09-4AFC-8185-3A4DC74E8FE1}"/>
                </a:ext>
              </a:extLst>
            </p:cNvPr>
            <p:cNvSpPr/>
            <p:nvPr/>
          </p:nvSpPr>
          <p:spPr bwMode="auto">
            <a:xfrm>
              <a:off x="7236722" y="2356565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4 w 32"/>
                <a:gd name="T3" fmla="*/ 0 h 19"/>
                <a:gd name="T4" fmla="*/ 1 w 32"/>
                <a:gd name="T5" fmla="*/ 9 h 19"/>
                <a:gd name="T6" fmla="*/ 18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2" y="15"/>
                    <a:pt x="10" y="19"/>
                    <a:pt x="18" y="19"/>
                  </a:cubicBezTo>
                  <a:cubicBezTo>
                    <a:pt x="26" y="19"/>
                    <a:pt x="32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9" name="任意多边形: 形状 408">
              <a:extLst>
                <a:ext uri="{FF2B5EF4-FFF2-40B4-BE49-F238E27FC236}">
                  <a16:creationId xmlns:a16="http://schemas.microsoft.com/office/drawing/2014/main" id="{89772A76-7C63-4DFD-9037-E0B57A1CA0C8}"/>
                </a:ext>
              </a:extLst>
            </p:cNvPr>
            <p:cNvSpPr/>
            <p:nvPr/>
          </p:nvSpPr>
          <p:spPr bwMode="auto">
            <a:xfrm>
              <a:off x="736787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19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3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7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0" name="任意多边形: 形状 409">
              <a:extLst>
                <a:ext uri="{FF2B5EF4-FFF2-40B4-BE49-F238E27FC236}">
                  <a16:creationId xmlns:a16="http://schemas.microsoft.com/office/drawing/2014/main" id="{9BDB18B5-3332-48D7-9202-59092C5A04FB}"/>
                </a:ext>
              </a:extLst>
            </p:cNvPr>
            <p:cNvSpPr/>
            <p:nvPr/>
          </p:nvSpPr>
          <p:spPr bwMode="auto">
            <a:xfrm>
              <a:off x="7503651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4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1" y="9"/>
                  </a:cubicBezTo>
                  <a:cubicBezTo>
                    <a:pt x="3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1" name="任意多边形: 形状 410">
              <a:extLst>
                <a:ext uri="{FF2B5EF4-FFF2-40B4-BE49-F238E27FC236}">
                  <a16:creationId xmlns:a16="http://schemas.microsoft.com/office/drawing/2014/main" id="{AD99C81F-DED7-4201-8DDD-42B8A8DCCD1A}"/>
                </a:ext>
              </a:extLst>
            </p:cNvPr>
            <p:cNvSpPr/>
            <p:nvPr/>
          </p:nvSpPr>
          <p:spPr bwMode="auto">
            <a:xfrm>
              <a:off x="7637888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2" y="15"/>
                    <a:pt x="10" y="19"/>
                    <a:pt x="19" y="19"/>
                  </a:cubicBezTo>
                  <a:cubicBezTo>
                    <a:pt x="27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2" name="任意多边形: 形状 411">
              <a:extLst>
                <a:ext uri="{FF2B5EF4-FFF2-40B4-BE49-F238E27FC236}">
                  <a16:creationId xmlns:a16="http://schemas.microsoft.com/office/drawing/2014/main" id="{F773F82E-A16D-48BF-A3F9-C28A2DCB380E}"/>
                </a:ext>
              </a:extLst>
            </p:cNvPr>
            <p:cNvSpPr/>
            <p:nvPr/>
          </p:nvSpPr>
          <p:spPr bwMode="auto">
            <a:xfrm>
              <a:off x="7769038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6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3" name="任意多边形: 形状 412">
              <a:extLst>
                <a:ext uri="{FF2B5EF4-FFF2-40B4-BE49-F238E27FC236}">
                  <a16:creationId xmlns:a16="http://schemas.microsoft.com/office/drawing/2014/main" id="{AEFCF0F9-DAF3-4C60-9405-C476DE15550B}"/>
                </a:ext>
              </a:extLst>
            </p:cNvPr>
            <p:cNvSpPr/>
            <p:nvPr/>
          </p:nvSpPr>
          <p:spPr bwMode="auto">
            <a:xfrm>
              <a:off x="7904817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14 w 33"/>
                <a:gd name="T3" fmla="*/ 0 h 19"/>
                <a:gd name="T4" fmla="*/ 2 w 33"/>
                <a:gd name="T5" fmla="*/ 9 h 19"/>
                <a:gd name="T6" fmla="*/ 20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3" y="15"/>
                    <a:pt x="11" y="19"/>
                    <a:pt x="20" y="19"/>
                  </a:cubicBezTo>
                  <a:cubicBezTo>
                    <a:pt x="28" y="19"/>
                    <a:pt x="33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4" name="任意多边形: 形状 413">
              <a:extLst>
                <a:ext uri="{FF2B5EF4-FFF2-40B4-BE49-F238E27FC236}">
                  <a16:creationId xmlns:a16="http://schemas.microsoft.com/office/drawing/2014/main" id="{3D25B583-DCE8-4754-85E4-A3F9403B5019}"/>
                </a:ext>
              </a:extLst>
            </p:cNvPr>
            <p:cNvSpPr/>
            <p:nvPr/>
          </p:nvSpPr>
          <p:spPr bwMode="auto">
            <a:xfrm>
              <a:off x="8039054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3 w 33"/>
                <a:gd name="T3" fmla="*/ 0 h 19"/>
                <a:gd name="T4" fmla="*/ 1 w 33"/>
                <a:gd name="T5" fmla="*/ 9 h 19"/>
                <a:gd name="T6" fmla="*/ 19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29" y="4"/>
                    <a:pt x="21" y="0"/>
                    <a:pt x="13" y="0"/>
                  </a:cubicBezTo>
                  <a:cubicBezTo>
                    <a:pt x="5" y="0"/>
                    <a:pt x="0" y="4"/>
                    <a:pt x="1" y="9"/>
                  </a:cubicBezTo>
                  <a:cubicBezTo>
                    <a:pt x="3" y="15"/>
                    <a:pt x="11" y="19"/>
                    <a:pt x="19" y="19"/>
                  </a:cubicBezTo>
                  <a:cubicBezTo>
                    <a:pt x="28" y="19"/>
                    <a:pt x="33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5" name="任意多边形: 形状 414">
              <a:extLst>
                <a:ext uri="{FF2B5EF4-FFF2-40B4-BE49-F238E27FC236}">
                  <a16:creationId xmlns:a16="http://schemas.microsoft.com/office/drawing/2014/main" id="{371F5297-4DBE-4532-AF14-299B485E850C}"/>
                </a:ext>
              </a:extLst>
            </p:cNvPr>
            <p:cNvSpPr/>
            <p:nvPr/>
          </p:nvSpPr>
          <p:spPr bwMode="auto">
            <a:xfrm>
              <a:off x="8170204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14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6" name="任意多边形: 形状 415">
              <a:extLst>
                <a:ext uri="{FF2B5EF4-FFF2-40B4-BE49-F238E27FC236}">
                  <a16:creationId xmlns:a16="http://schemas.microsoft.com/office/drawing/2014/main" id="{51C4888E-3DCB-4334-9316-96A50194446B}"/>
                </a:ext>
              </a:extLst>
            </p:cNvPr>
            <p:cNvSpPr/>
            <p:nvPr/>
          </p:nvSpPr>
          <p:spPr bwMode="auto">
            <a:xfrm>
              <a:off x="830598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0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2" y="19"/>
                    <a:pt x="20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7" name="任意多边形: 形状 416">
              <a:extLst>
                <a:ext uri="{FF2B5EF4-FFF2-40B4-BE49-F238E27FC236}">
                  <a16:creationId xmlns:a16="http://schemas.microsoft.com/office/drawing/2014/main" id="{F82F9582-CD5F-40AC-AE3A-21E059E644E4}"/>
                </a:ext>
              </a:extLst>
            </p:cNvPr>
            <p:cNvSpPr/>
            <p:nvPr/>
          </p:nvSpPr>
          <p:spPr bwMode="auto">
            <a:xfrm>
              <a:off x="8437134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4 w 35"/>
                <a:gd name="T3" fmla="*/ 0 h 19"/>
                <a:gd name="T4" fmla="*/ 2 w 35"/>
                <a:gd name="T5" fmla="*/ 9 h 19"/>
                <a:gd name="T6" fmla="*/ 21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2" y="0"/>
                    <a:pt x="14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8" name="任意多边形: 形状 417">
              <a:extLst>
                <a:ext uri="{FF2B5EF4-FFF2-40B4-BE49-F238E27FC236}">
                  <a16:creationId xmlns:a16="http://schemas.microsoft.com/office/drawing/2014/main" id="{D1FFEA2D-8841-40D6-ACD9-F62DAE125B54}"/>
                </a:ext>
              </a:extLst>
            </p:cNvPr>
            <p:cNvSpPr/>
            <p:nvPr/>
          </p:nvSpPr>
          <p:spPr bwMode="auto">
            <a:xfrm>
              <a:off x="8572914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9" name="任意多边形: 形状 418">
              <a:extLst>
                <a:ext uri="{FF2B5EF4-FFF2-40B4-BE49-F238E27FC236}">
                  <a16:creationId xmlns:a16="http://schemas.microsoft.com/office/drawing/2014/main" id="{C74D0870-D273-4020-9A27-38F6CD135E92}"/>
                </a:ext>
              </a:extLst>
            </p:cNvPr>
            <p:cNvSpPr/>
            <p:nvPr/>
          </p:nvSpPr>
          <p:spPr bwMode="auto">
            <a:xfrm>
              <a:off x="8707149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13 w 34"/>
                <a:gd name="T3" fmla="*/ 0 h 19"/>
                <a:gd name="T4" fmla="*/ 2 w 34"/>
                <a:gd name="T5" fmla="*/ 9 h 19"/>
                <a:gd name="T6" fmla="*/ 21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4" y="15"/>
                    <a:pt x="13" y="19"/>
                    <a:pt x="21" y="19"/>
                  </a:cubicBezTo>
                  <a:cubicBezTo>
                    <a:pt x="29" y="19"/>
                    <a:pt x="34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0" name="任意多边形: 形状 419">
              <a:extLst>
                <a:ext uri="{FF2B5EF4-FFF2-40B4-BE49-F238E27FC236}">
                  <a16:creationId xmlns:a16="http://schemas.microsoft.com/office/drawing/2014/main" id="{D1967731-8386-4DC8-8FD9-D932A4FD620D}"/>
                </a:ext>
              </a:extLst>
            </p:cNvPr>
            <p:cNvSpPr/>
            <p:nvPr/>
          </p:nvSpPr>
          <p:spPr bwMode="auto">
            <a:xfrm>
              <a:off x="8838300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13 w 35"/>
                <a:gd name="T3" fmla="*/ 0 h 19"/>
                <a:gd name="T4" fmla="*/ 3 w 35"/>
                <a:gd name="T5" fmla="*/ 9 h 19"/>
                <a:gd name="T6" fmla="*/ 2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0" y="4"/>
                    <a:pt x="22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1" name="任意多边形: 形状 420">
              <a:extLst>
                <a:ext uri="{FF2B5EF4-FFF2-40B4-BE49-F238E27FC236}">
                  <a16:creationId xmlns:a16="http://schemas.microsoft.com/office/drawing/2014/main" id="{D802BE5B-E339-4DA3-87EC-4706952CCFAD}"/>
                </a:ext>
              </a:extLst>
            </p:cNvPr>
            <p:cNvSpPr/>
            <p:nvPr/>
          </p:nvSpPr>
          <p:spPr bwMode="auto">
            <a:xfrm>
              <a:off x="8974080" y="2356565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13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2" y="9"/>
                  </a:cubicBezTo>
                  <a:cubicBezTo>
                    <a:pt x="5" y="15"/>
                    <a:pt x="14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2" name="任意多边形: 形状 421">
              <a:extLst>
                <a:ext uri="{FF2B5EF4-FFF2-40B4-BE49-F238E27FC236}">
                  <a16:creationId xmlns:a16="http://schemas.microsoft.com/office/drawing/2014/main" id="{7A4672F0-E002-4F2C-A744-4AD5331455BB}"/>
                </a:ext>
              </a:extLst>
            </p:cNvPr>
            <p:cNvSpPr/>
            <p:nvPr/>
          </p:nvSpPr>
          <p:spPr bwMode="auto">
            <a:xfrm>
              <a:off x="9108316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12 w 35"/>
                <a:gd name="T3" fmla="*/ 0 h 19"/>
                <a:gd name="T4" fmla="*/ 2 w 35"/>
                <a:gd name="T5" fmla="*/ 9 h 19"/>
                <a:gd name="T6" fmla="*/ 2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29" y="4"/>
                    <a:pt x="21" y="0"/>
                    <a:pt x="12" y="0"/>
                  </a:cubicBezTo>
                  <a:cubicBezTo>
                    <a:pt x="4" y="0"/>
                    <a:pt x="0" y="4"/>
                    <a:pt x="2" y="9"/>
                  </a:cubicBezTo>
                  <a:cubicBezTo>
                    <a:pt x="5" y="15"/>
                    <a:pt x="13" y="19"/>
                    <a:pt x="22" y="19"/>
                  </a:cubicBezTo>
                  <a:cubicBezTo>
                    <a:pt x="30" y="19"/>
                    <a:pt x="35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3" name="任意多边形: 形状 422">
              <a:extLst>
                <a:ext uri="{FF2B5EF4-FFF2-40B4-BE49-F238E27FC236}">
                  <a16:creationId xmlns:a16="http://schemas.microsoft.com/office/drawing/2014/main" id="{129A3F2E-AF42-45BF-9F82-789EF7D61601}"/>
                </a:ext>
              </a:extLst>
            </p:cNvPr>
            <p:cNvSpPr/>
            <p:nvPr/>
          </p:nvSpPr>
          <p:spPr bwMode="auto">
            <a:xfrm>
              <a:off x="9239466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13 w 36"/>
                <a:gd name="T3" fmla="*/ 0 h 19"/>
                <a:gd name="T4" fmla="*/ 3 w 36"/>
                <a:gd name="T5" fmla="*/ 9 h 19"/>
                <a:gd name="T6" fmla="*/ 2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5" y="0"/>
                    <a:pt x="0" y="4"/>
                    <a:pt x="3" y="9"/>
                  </a:cubicBezTo>
                  <a:cubicBezTo>
                    <a:pt x="5" y="15"/>
                    <a:pt x="14" y="19"/>
                    <a:pt x="23" y="19"/>
                  </a:cubicBezTo>
                  <a:cubicBezTo>
                    <a:pt x="31" y="19"/>
                    <a:pt x="36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4" name="任意多边形: 形状 423">
              <a:extLst>
                <a:ext uri="{FF2B5EF4-FFF2-40B4-BE49-F238E27FC236}">
                  <a16:creationId xmlns:a16="http://schemas.microsoft.com/office/drawing/2014/main" id="{A2DA6E44-43F1-4C32-8CF0-9229F1EF379F}"/>
                </a:ext>
              </a:extLst>
            </p:cNvPr>
            <p:cNvSpPr/>
            <p:nvPr/>
          </p:nvSpPr>
          <p:spPr bwMode="auto">
            <a:xfrm>
              <a:off x="6985221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0 w 32"/>
                <a:gd name="T5" fmla="*/ 10 h 20"/>
                <a:gd name="T6" fmla="*/ 17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0" y="10"/>
                  </a:cubicBezTo>
                  <a:cubicBezTo>
                    <a:pt x="1" y="16"/>
                    <a:pt x="9" y="20"/>
                    <a:pt x="17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5" name="任意多边形: 形状 424">
              <a:extLst>
                <a:ext uri="{FF2B5EF4-FFF2-40B4-BE49-F238E27FC236}">
                  <a16:creationId xmlns:a16="http://schemas.microsoft.com/office/drawing/2014/main" id="{D578D2AE-2B86-4D9F-90FB-EDEFC2808519}"/>
                </a:ext>
              </a:extLst>
            </p:cNvPr>
            <p:cNvSpPr/>
            <p:nvPr/>
          </p:nvSpPr>
          <p:spPr bwMode="auto">
            <a:xfrm>
              <a:off x="7119458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9" y="20"/>
                    <a:pt x="18" y="20"/>
                  </a:cubicBezTo>
                  <a:cubicBezTo>
                    <a:pt x="26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6" name="任意多边形: 形状 425">
              <a:extLst>
                <a:ext uri="{FF2B5EF4-FFF2-40B4-BE49-F238E27FC236}">
                  <a16:creationId xmlns:a16="http://schemas.microsoft.com/office/drawing/2014/main" id="{CAEDFED3-40AF-4FA7-A995-C9C1B38EC35F}"/>
                </a:ext>
              </a:extLst>
            </p:cNvPr>
            <p:cNvSpPr/>
            <p:nvPr/>
          </p:nvSpPr>
          <p:spPr bwMode="auto">
            <a:xfrm>
              <a:off x="7255237" y="2439884"/>
              <a:ext cx="117264" cy="74061"/>
            </a:xfrm>
            <a:custGeom>
              <a:avLst/>
              <a:gdLst>
                <a:gd name="T0" fmla="*/ 31 w 32"/>
                <a:gd name="T1" fmla="*/ 10 h 20"/>
                <a:gd name="T2" fmla="*/ 14 w 32"/>
                <a:gd name="T3" fmla="*/ 0 h 20"/>
                <a:gd name="T4" fmla="*/ 1 w 32"/>
                <a:gd name="T5" fmla="*/ 10 h 20"/>
                <a:gd name="T6" fmla="*/ 18 w 32"/>
                <a:gd name="T7" fmla="*/ 20 h 20"/>
                <a:gd name="T8" fmla="*/ 31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8" y="20"/>
                  </a:cubicBezTo>
                  <a:cubicBezTo>
                    <a:pt x="27" y="20"/>
                    <a:pt x="32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7" name="任意多边形: 形状 426">
              <a:extLst>
                <a:ext uri="{FF2B5EF4-FFF2-40B4-BE49-F238E27FC236}">
                  <a16:creationId xmlns:a16="http://schemas.microsoft.com/office/drawing/2014/main" id="{18931E2A-E71B-4E53-975E-2416CB6B758D}"/>
                </a:ext>
              </a:extLst>
            </p:cNvPr>
            <p:cNvSpPr/>
            <p:nvPr/>
          </p:nvSpPr>
          <p:spPr bwMode="auto">
            <a:xfrm>
              <a:off x="7389473" y="2439884"/>
              <a:ext cx="120350" cy="74061"/>
            </a:xfrm>
            <a:custGeom>
              <a:avLst/>
              <a:gdLst>
                <a:gd name="T0" fmla="*/ 31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1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1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2" y="16"/>
                    <a:pt x="10" y="20"/>
                    <a:pt x="19" y="20"/>
                  </a:cubicBezTo>
                  <a:cubicBezTo>
                    <a:pt x="27" y="20"/>
                    <a:pt x="33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8" name="任意多边形: 形状 427">
              <a:extLst>
                <a:ext uri="{FF2B5EF4-FFF2-40B4-BE49-F238E27FC236}">
                  <a16:creationId xmlns:a16="http://schemas.microsoft.com/office/drawing/2014/main" id="{246D59CC-1CC7-4BF4-B3FB-6A62528334C2}"/>
                </a:ext>
              </a:extLst>
            </p:cNvPr>
            <p:cNvSpPr/>
            <p:nvPr/>
          </p:nvSpPr>
          <p:spPr bwMode="auto">
            <a:xfrm>
              <a:off x="7525252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0" y="20"/>
                    <a:pt x="19" y="20"/>
                  </a:cubicBezTo>
                  <a:cubicBezTo>
                    <a:pt x="27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9" name="任意多边形: 形状 428">
              <a:extLst>
                <a:ext uri="{FF2B5EF4-FFF2-40B4-BE49-F238E27FC236}">
                  <a16:creationId xmlns:a16="http://schemas.microsoft.com/office/drawing/2014/main" id="{4D7F0C21-D2FB-41F3-BAB6-02C7B4DC797D}"/>
                </a:ext>
              </a:extLst>
            </p:cNvPr>
            <p:cNvSpPr/>
            <p:nvPr/>
          </p:nvSpPr>
          <p:spPr bwMode="auto">
            <a:xfrm>
              <a:off x="7659489" y="2439884"/>
              <a:ext cx="120350" cy="74061"/>
            </a:xfrm>
            <a:custGeom>
              <a:avLst/>
              <a:gdLst>
                <a:gd name="T0" fmla="*/ 32 w 33"/>
                <a:gd name="T1" fmla="*/ 10 h 20"/>
                <a:gd name="T2" fmla="*/ 14 w 33"/>
                <a:gd name="T3" fmla="*/ 0 h 20"/>
                <a:gd name="T4" fmla="*/ 1 w 33"/>
                <a:gd name="T5" fmla="*/ 10 h 20"/>
                <a:gd name="T6" fmla="*/ 19 w 33"/>
                <a:gd name="T7" fmla="*/ 20 h 20"/>
                <a:gd name="T8" fmla="*/ 32 w 33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1" y="10"/>
                  </a:cubicBezTo>
                  <a:cubicBezTo>
                    <a:pt x="3" y="16"/>
                    <a:pt x="11" y="20"/>
                    <a:pt x="19" y="20"/>
                  </a:cubicBezTo>
                  <a:cubicBezTo>
                    <a:pt x="28" y="20"/>
                    <a:pt x="33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0" name="任意多边形: 形状 429">
              <a:extLst>
                <a:ext uri="{FF2B5EF4-FFF2-40B4-BE49-F238E27FC236}">
                  <a16:creationId xmlns:a16="http://schemas.microsoft.com/office/drawing/2014/main" id="{E7929062-3863-457F-ACD5-ED1BDD69B851}"/>
                </a:ext>
              </a:extLst>
            </p:cNvPr>
            <p:cNvSpPr/>
            <p:nvPr/>
          </p:nvSpPr>
          <p:spPr bwMode="auto">
            <a:xfrm>
              <a:off x="7795269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1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1" name="任意多边形: 形状 430">
              <a:extLst>
                <a:ext uri="{FF2B5EF4-FFF2-40B4-BE49-F238E27FC236}">
                  <a16:creationId xmlns:a16="http://schemas.microsoft.com/office/drawing/2014/main" id="{41B544AC-0E2D-4ABF-B113-F97B21BA9076}"/>
                </a:ext>
              </a:extLst>
            </p:cNvPr>
            <p:cNvSpPr/>
            <p:nvPr/>
          </p:nvSpPr>
          <p:spPr bwMode="auto">
            <a:xfrm>
              <a:off x="7929504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3" y="16"/>
                    <a:pt x="12" y="20"/>
                    <a:pt x="20" y="20"/>
                  </a:cubicBezTo>
                  <a:cubicBezTo>
                    <a:pt x="28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2" name="任意多边形: 形状 431">
              <a:extLst>
                <a:ext uri="{FF2B5EF4-FFF2-40B4-BE49-F238E27FC236}">
                  <a16:creationId xmlns:a16="http://schemas.microsoft.com/office/drawing/2014/main" id="{3656A636-8C63-498D-AC13-A4CD170EB722}"/>
                </a:ext>
              </a:extLst>
            </p:cNvPr>
            <p:cNvSpPr/>
            <p:nvPr/>
          </p:nvSpPr>
          <p:spPr bwMode="auto">
            <a:xfrm>
              <a:off x="8065284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0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0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3" name="任意多边形: 形状 432">
              <a:extLst>
                <a:ext uri="{FF2B5EF4-FFF2-40B4-BE49-F238E27FC236}">
                  <a16:creationId xmlns:a16="http://schemas.microsoft.com/office/drawing/2014/main" id="{5BBB83E5-BC7B-4F7A-8BED-227917321E66}"/>
                </a:ext>
              </a:extLst>
            </p:cNvPr>
            <p:cNvSpPr/>
            <p:nvPr/>
          </p:nvSpPr>
          <p:spPr bwMode="auto">
            <a:xfrm>
              <a:off x="8199520" y="2439884"/>
              <a:ext cx="124979" cy="74061"/>
            </a:xfrm>
            <a:custGeom>
              <a:avLst/>
              <a:gdLst>
                <a:gd name="T0" fmla="*/ 33 w 34"/>
                <a:gd name="T1" fmla="*/ 10 h 20"/>
                <a:gd name="T2" fmla="*/ 14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2" y="20"/>
                    <a:pt x="21" y="20"/>
                  </a:cubicBezTo>
                  <a:cubicBezTo>
                    <a:pt x="29" y="20"/>
                    <a:pt x="34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4" name="任意多边形: 形状 433">
              <a:extLst>
                <a:ext uri="{FF2B5EF4-FFF2-40B4-BE49-F238E27FC236}">
                  <a16:creationId xmlns:a16="http://schemas.microsoft.com/office/drawing/2014/main" id="{3314AEEC-4B4C-4939-A31F-0144D8DF7CDB}"/>
                </a:ext>
              </a:extLst>
            </p:cNvPr>
            <p:cNvSpPr/>
            <p:nvPr/>
          </p:nvSpPr>
          <p:spPr bwMode="auto">
            <a:xfrm>
              <a:off x="833530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5" name="任意多边形: 形状 434">
              <a:extLst>
                <a:ext uri="{FF2B5EF4-FFF2-40B4-BE49-F238E27FC236}">
                  <a16:creationId xmlns:a16="http://schemas.microsoft.com/office/drawing/2014/main" id="{D37688DC-03DE-447B-933A-8B6B417FE405}"/>
                </a:ext>
              </a:extLst>
            </p:cNvPr>
            <p:cNvSpPr/>
            <p:nvPr/>
          </p:nvSpPr>
          <p:spPr bwMode="auto">
            <a:xfrm>
              <a:off x="8469536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14 w 35"/>
                <a:gd name="T3" fmla="*/ 0 h 20"/>
                <a:gd name="T4" fmla="*/ 3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5"/>
                    <a:pt x="22" y="0"/>
                    <a:pt x="14" y="0"/>
                  </a:cubicBezTo>
                  <a:cubicBezTo>
                    <a:pt x="6" y="0"/>
                    <a:pt x="0" y="5"/>
                    <a:pt x="3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6" name="任意多边形: 形状 435">
              <a:extLst>
                <a:ext uri="{FF2B5EF4-FFF2-40B4-BE49-F238E27FC236}">
                  <a16:creationId xmlns:a16="http://schemas.microsoft.com/office/drawing/2014/main" id="{F46AE6FB-99AE-4DEC-A92E-2059A10FEAC9}"/>
                </a:ext>
              </a:extLst>
            </p:cNvPr>
            <p:cNvSpPr/>
            <p:nvPr/>
          </p:nvSpPr>
          <p:spPr bwMode="auto">
            <a:xfrm>
              <a:off x="8608401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13 w 34"/>
                <a:gd name="T3" fmla="*/ 0 h 20"/>
                <a:gd name="T4" fmla="*/ 2 w 34"/>
                <a:gd name="T5" fmla="*/ 10 h 20"/>
                <a:gd name="T6" fmla="*/ 21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29" y="20"/>
                    <a:pt x="34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7" name="任意多边形: 形状 436">
              <a:extLst>
                <a:ext uri="{FF2B5EF4-FFF2-40B4-BE49-F238E27FC236}">
                  <a16:creationId xmlns:a16="http://schemas.microsoft.com/office/drawing/2014/main" id="{7F006E79-ECC9-49D3-847C-A88CDB614CAF}"/>
                </a:ext>
              </a:extLst>
            </p:cNvPr>
            <p:cNvSpPr/>
            <p:nvPr/>
          </p:nvSpPr>
          <p:spPr bwMode="auto">
            <a:xfrm>
              <a:off x="8744180" y="2439884"/>
              <a:ext cx="126522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1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4" y="16"/>
                    <a:pt x="13" y="20"/>
                    <a:pt x="21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8" name="任意多边形: 形状 437">
              <a:extLst>
                <a:ext uri="{FF2B5EF4-FFF2-40B4-BE49-F238E27FC236}">
                  <a16:creationId xmlns:a16="http://schemas.microsoft.com/office/drawing/2014/main" id="{EFC7C20D-08F1-40D2-823F-768C178B8DE9}"/>
                </a:ext>
              </a:extLst>
            </p:cNvPr>
            <p:cNvSpPr/>
            <p:nvPr/>
          </p:nvSpPr>
          <p:spPr bwMode="auto">
            <a:xfrm>
              <a:off x="8878417" y="2439884"/>
              <a:ext cx="128065" cy="74061"/>
            </a:xfrm>
            <a:custGeom>
              <a:avLst/>
              <a:gdLst>
                <a:gd name="T0" fmla="*/ 32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3" y="20"/>
                    <a:pt x="22" y="20"/>
                  </a:cubicBezTo>
                  <a:cubicBezTo>
                    <a:pt x="30" y="20"/>
                    <a:pt x="35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9" name="任意多边形: 形状 438">
              <a:extLst>
                <a:ext uri="{FF2B5EF4-FFF2-40B4-BE49-F238E27FC236}">
                  <a16:creationId xmlns:a16="http://schemas.microsoft.com/office/drawing/2014/main" id="{A695C37F-B510-4A11-B090-5669C3B0C750}"/>
                </a:ext>
              </a:extLst>
            </p:cNvPr>
            <p:cNvSpPr/>
            <p:nvPr/>
          </p:nvSpPr>
          <p:spPr bwMode="auto">
            <a:xfrm>
              <a:off x="9014196" y="2439884"/>
              <a:ext cx="126522" cy="74061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2" y="10"/>
                  </a:cubicBezTo>
                  <a:cubicBezTo>
                    <a:pt x="5" y="16"/>
                    <a:pt x="14" y="20"/>
                    <a:pt x="22" y="20"/>
                  </a:cubicBezTo>
                  <a:cubicBezTo>
                    <a:pt x="31" y="20"/>
                    <a:pt x="35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0" name="任意多边形: 形状 439">
              <a:extLst>
                <a:ext uri="{FF2B5EF4-FFF2-40B4-BE49-F238E27FC236}">
                  <a16:creationId xmlns:a16="http://schemas.microsoft.com/office/drawing/2014/main" id="{9BCE0F33-54C6-457C-8F60-4C24E873A894}"/>
                </a:ext>
              </a:extLst>
            </p:cNvPr>
            <p:cNvSpPr/>
            <p:nvPr/>
          </p:nvSpPr>
          <p:spPr bwMode="auto">
            <a:xfrm>
              <a:off x="9148432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1" name="任意多边形: 形状 440">
              <a:extLst>
                <a:ext uri="{FF2B5EF4-FFF2-40B4-BE49-F238E27FC236}">
                  <a16:creationId xmlns:a16="http://schemas.microsoft.com/office/drawing/2014/main" id="{F22ED884-F7C8-45D8-A41A-CD2E67AF7E6E}"/>
                </a:ext>
              </a:extLst>
            </p:cNvPr>
            <p:cNvSpPr/>
            <p:nvPr/>
          </p:nvSpPr>
          <p:spPr bwMode="auto">
            <a:xfrm>
              <a:off x="9284211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5"/>
                    <a:pt x="21" y="0"/>
                    <a:pt x="13" y="0"/>
                  </a:cubicBezTo>
                  <a:cubicBezTo>
                    <a:pt x="5" y="0"/>
                    <a:pt x="0" y="5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1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2" name="任意多边形: 形状 441">
              <a:extLst>
                <a:ext uri="{FF2B5EF4-FFF2-40B4-BE49-F238E27FC236}">
                  <a16:creationId xmlns:a16="http://schemas.microsoft.com/office/drawing/2014/main" id="{64975E9A-A7CC-4C88-8760-24450250B35B}"/>
                </a:ext>
              </a:extLst>
            </p:cNvPr>
            <p:cNvSpPr/>
            <p:nvPr/>
          </p:nvSpPr>
          <p:spPr bwMode="auto">
            <a:xfrm>
              <a:off x="8779668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13 w 35"/>
                <a:gd name="T3" fmla="*/ 0 h 20"/>
                <a:gd name="T4" fmla="*/ 2 w 35"/>
                <a:gd name="T5" fmla="*/ 10 h 20"/>
                <a:gd name="T6" fmla="*/ 22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1" y="4"/>
                    <a:pt x="22" y="0"/>
                    <a:pt x="13" y="0"/>
                  </a:cubicBezTo>
                  <a:cubicBezTo>
                    <a:pt x="5" y="0"/>
                    <a:pt x="0" y="4"/>
                    <a:pt x="2" y="10"/>
                  </a:cubicBezTo>
                  <a:cubicBezTo>
                    <a:pt x="5" y="15"/>
                    <a:pt x="13" y="20"/>
                    <a:pt x="22" y="20"/>
                  </a:cubicBezTo>
                  <a:cubicBezTo>
                    <a:pt x="31" y="20"/>
                    <a:pt x="35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3" name="任意多边形: 形状 442">
              <a:extLst>
                <a:ext uri="{FF2B5EF4-FFF2-40B4-BE49-F238E27FC236}">
                  <a16:creationId xmlns:a16="http://schemas.microsoft.com/office/drawing/2014/main" id="{26B34B19-219D-44DE-8181-826C76CB7D01}"/>
                </a:ext>
              </a:extLst>
            </p:cNvPr>
            <p:cNvSpPr/>
            <p:nvPr/>
          </p:nvSpPr>
          <p:spPr bwMode="auto">
            <a:xfrm>
              <a:off x="8915448" y="2532461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4" name="任意多边形: 形状 443">
              <a:extLst>
                <a:ext uri="{FF2B5EF4-FFF2-40B4-BE49-F238E27FC236}">
                  <a16:creationId xmlns:a16="http://schemas.microsoft.com/office/drawing/2014/main" id="{EA5DA0A1-2E8D-4783-95FB-B34FC046C276}"/>
                </a:ext>
              </a:extLst>
            </p:cNvPr>
            <p:cNvSpPr/>
            <p:nvPr/>
          </p:nvSpPr>
          <p:spPr bwMode="auto">
            <a:xfrm>
              <a:off x="9193178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0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5"/>
                    <a:pt x="14" y="20"/>
                    <a:pt x="23" y="20"/>
                  </a:cubicBezTo>
                  <a:cubicBezTo>
                    <a:pt x="31" y="20"/>
                    <a:pt x="36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5" name="任意多边形: 形状 444">
              <a:extLst>
                <a:ext uri="{FF2B5EF4-FFF2-40B4-BE49-F238E27FC236}">
                  <a16:creationId xmlns:a16="http://schemas.microsoft.com/office/drawing/2014/main" id="{0BFB92E1-6C9C-4BC3-83ED-D4F32039C8A9}"/>
                </a:ext>
              </a:extLst>
            </p:cNvPr>
            <p:cNvSpPr/>
            <p:nvPr/>
          </p:nvSpPr>
          <p:spPr bwMode="auto">
            <a:xfrm>
              <a:off x="8816699" y="2623495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14 w 36"/>
                <a:gd name="T3" fmla="*/ 0 h 20"/>
                <a:gd name="T4" fmla="*/ 3 w 36"/>
                <a:gd name="T5" fmla="*/ 10 h 20"/>
                <a:gd name="T6" fmla="*/ 2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1" y="4"/>
                    <a:pt x="23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6" name="任意多边形: 形状 445">
              <a:extLst>
                <a:ext uri="{FF2B5EF4-FFF2-40B4-BE49-F238E27FC236}">
                  <a16:creationId xmlns:a16="http://schemas.microsoft.com/office/drawing/2014/main" id="{4043F0C4-7DF4-47A1-A6E3-3DBC121923D9}"/>
                </a:ext>
              </a:extLst>
            </p:cNvPr>
            <p:cNvSpPr/>
            <p:nvPr/>
          </p:nvSpPr>
          <p:spPr bwMode="auto">
            <a:xfrm>
              <a:off x="8955564" y="2623495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14 w 37"/>
                <a:gd name="T3" fmla="*/ 0 h 20"/>
                <a:gd name="T4" fmla="*/ 3 w 37"/>
                <a:gd name="T5" fmla="*/ 10 h 20"/>
                <a:gd name="T6" fmla="*/ 2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2" y="4"/>
                    <a:pt x="22" y="0"/>
                    <a:pt x="14" y="0"/>
                  </a:cubicBezTo>
                  <a:cubicBezTo>
                    <a:pt x="5" y="0"/>
                    <a:pt x="0" y="4"/>
                    <a:pt x="3" y="10"/>
                  </a:cubicBezTo>
                  <a:cubicBezTo>
                    <a:pt x="6" y="16"/>
                    <a:pt x="15" y="20"/>
                    <a:pt x="23" y="20"/>
                  </a:cubicBezTo>
                  <a:cubicBezTo>
                    <a:pt x="32" y="20"/>
                    <a:pt x="37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7" name="任意多边形: 形状 446">
              <a:extLst>
                <a:ext uri="{FF2B5EF4-FFF2-40B4-BE49-F238E27FC236}">
                  <a16:creationId xmlns:a16="http://schemas.microsoft.com/office/drawing/2014/main" id="{4E72C46F-45E2-4102-B164-B98FAF50416E}"/>
                </a:ext>
              </a:extLst>
            </p:cNvPr>
            <p:cNvSpPr/>
            <p:nvPr/>
          </p:nvSpPr>
          <p:spPr bwMode="auto">
            <a:xfrm>
              <a:off x="9236381" y="2623495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13 w 36"/>
                <a:gd name="T3" fmla="*/ 0 h 20"/>
                <a:gd name="T4" fmla="*/ 2 w 36"/>
                <a:gd name="T5" fmla="*/ 10 h 20"/>
                <a:gd name="T6" fmla="*/ 2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1" y="4"/>
                    <a:pt x="21" y="0"/>
                    <a:pt x="13" y="0"/>
                  </a:cubicBezTo>
                  <a:cubicBezTo>
                    <a:pt x="4" y="0"/>
                    <a:pt x="0" y="4"/>
                    <a:pt x="2" y="10"/>
                  </a:cubicBezTo>
                  <a:cubicBezTo>
                    <a:pt x="5" y="16"/>
                    <a:pt x="14" y="20"/>
                    <a:pt x="23" y="20"/>
                  </a:cubicBezTo>
                  <a:cubicBezTo>
                    <a:pt x="32" y="20"/>
                    <a:pt x="36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8" name="任意多边形: 形状 447">
              <a:extLst>
                <a:ext uri="{FF2B5EF4-FFF2-40B4-BE49-F238E27FC236}">
                  <a16:creationId xmlns:a16="http://schemas.microsoft.com/office/drawing/2014/main" id="{0BBB73CF-D224-4A24-AA43-75AB5A0718FA}"/>
                </a:ext>
              </a:extLst>
            </p:cNvPr>
            <p:cNvSpPr/>
            <p:nvPr/>
          </p:nvSpPr>
          <p:spPr bwMode="auto">
            <a:xfrm>
              <a:off x="8856816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9" name="任意多边形: 形状 448">
              <a:extLst>
                <a:ext uri="{FF2B5EF4-FFF2-40B4-BE49-F238E27FC236}">
                  <a16:creationId xmlns:a16="http://schemas.microsoft.com/office/drawing/2014/main" id="{BECC4A1B-9B33-495E-9EC4-8BE9602EAB16}"/>
                </a:ext>
              </a:extLst>
            </p:cNvPr>
            <p:cNvSpPr/>
            <p:nvPr/>
          </p:nvSpPr>
          <p:spPr bwMode="auto">
            <a:xfrm>
              <a:off x="8998767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13 w 37"/>
                <a:gd name="T3" fmla="*/ 0 h 22"/>
                <a:gd name="T4" fmla="*/ 2 w 37"/>
                <a:gd name="T5" fmla="*/ 11 h 22"/>
                <a:gd name="T6" fmla="*/ 2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1" y="5"/>
                    <a:pt x="22" y="0"/>
                    <a:pt x="13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7"/>
                    <a:pt x="14" y="22"/>
                    <a:pt x="23" y="22"/>
                  </a:cubicBezTo>
                  <a:cubicBezTo>
                    <a:pt x="32" y="22"/>
                    <a:pt x="37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0" name="任意多边形: 形状 449">
              <a:extLst>
                <a:ext uri="{FF2B5EF4-FFF2-40B4-BE49-F238E27FC236}">
                  <a16:creationId xmlns:a16="http://schemas.microsoft.com/office/drawing/2014/main" id="{52A8BCED-3CBA-4B44-BDEA-26A57D949278}"/>
                </a:ext>
              </a:extLst>
            </p:cNvPr>
            <p:cNvSpPr/>
            <p:nvPr/>
          </p:nvSpPr>
          <p:spPr bwMode="auto">
            <a:xfrm>
              <a:off x="8896932" y="2810191"/>
              <a:ext cx="135779" cy="80233"/>
            </a:xfrm>
            <a:custGeom>
              <a:avLst/>
              <a:gdLst>
                <a:gd name="T0" fmla="*/ 35 w 37"/>
                <a:gd name="T1" fmla="*/ 11 h 22"/>
                <a:gd name="T2" fmla="*/ 14 w 37"/>
                <a:gd name="T3" fmla="*/ 0 h 22"/>
                <a:gd name="T4" fmla="*/ 3 w 37"/>
                <a:gd name="T5" fmla="*/ 11 h 22"/>
                <a:gd name="T6" fmla="*/ 2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7"/>
                    <a:pt x="15" y="22"/>
                    <a:pt x="24" y="22"/>
                  </a:cubicBezTo>
                  <a:cubicBezTo>
                    <a:pt x="32" y="22"/>
                    <a:pt x="37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1" name="任意多边形: 形状 450">
              <a:extLst>
                <a:ext uri="{FF2B5EF4-FFF2-40B4-BE49-F238E27FC236}">
                  <a16:creationId xmlns:a16="http://schemas.microsoft.com/office/drawing/2014/main" id="{43BD5C86-31FB-4AA5-94D4-5411412A2517}"/>
                </a:ext>
              </a:extLst>
            </p:cNvPr>
            <p:cNvSpPr/>
            <p:nvPr/>
          </p:nvSpPr>
          <p:spPr bwMode="auto">
            <a:xfrm>
              <a:off x="9038883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14 w 38"/>
                <a:gd name="T3" fmla="*/ 0 h 22"/>
                <a:gd name="T4" fmla="*/ 3 w 38"/>
                <a:gd name="T5" fmla="*/ 11 h 22"/>
                <a:gd name="T6" fmla="*/ 2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6" y="17"/>
                    <a:pt x="15" y="22"/>
                    <a:pt x="24" y="22"/>
                  </a:cubicBezTo>
                  <a:cubicBezTo>
                    <a:pt x="33" y="22"/>
                    <a:pt x="38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2" name="任意多边形: 形状 451">
              <a:extLst>
                <a:ext uri="{FF2B5EF4-FFF2-40B4-BE49-F238E27FC236}">
                  <a16:creationId xmlns:a16="http://schemas.microsoft.com/office/drawing/2014/main" id="{0FCFFE87-EB66-4227-9F89-2F08B47F7E4A}"/>
                </a:ext>
              </a:extLst>
            </p:cNvPr>
            <p:cNvSpPr/>
            <p:nvPr/>
          </p:nvSpPr>
          <p:spPr bwMode="auto">
            <a:xfrm>
              <a:off x="8940135" y="2907397"/>
              <a:ext cx="135779" cy="84863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3" name="任意多边形: 形状 452">
              <a:extLst>
                <a:ext uri="{FF2B5EF4-FFF2-40B4-BE49-F238E27FC236}">
                  <a16:creationId xmlns:a16="http://schemas.microsoft.com/office/drawing/2014/main" id="{D09E0C5E-7712-4218-9E2F-D5BE4F8836EC}"/>
                </a:ext>
              </a:extLst>
            </p:cNvPr>
            <p:cNvSpPr/>
            <p:nvPr/>
          </p:nvSpPr>
          <p:spPr bwMode="auto">
            <a:xfrm>
              <a:off x="7809155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2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4" name="任意多边形: 形状 453">
              <a:extLst>
                <a:ext uri="{FF2B5EF4-FFF2-40B4-BE49-F238E27FC236}">
                  <a16:creationId xmlns:a16="http://schemas.microsoft.com/office/drawing/2014/main" id="{3BBD83F2-C933-4046-B13D-EB3D7E64DAF2}"/>
                </a:ext>
              </a:extLst>
            </p:cNvPr>
            <p:cNvSpPr/>
            <p:nvPr/>
          </p:nvSpPr>
          <p:spPr bwMode="auto">
            <a:xfrm>
              <a:off x="7955735" y="3010774"/>
              <a:ext cx="134237" cy="83319"/>
            </a:xfrm>
            <a:custGeom>
              <a:avLst/>
              <a:gdLst>
                <a:gd name="T0" fmla="*/ 35 w 37"/>
                <a:gd name="T1" fmla="*/ 11 h 23"/>
                <a:gd name="T2" fmla="*/ 15 w 37"/>
                <a:gd name="T3" fmla="*/ 0 h 23"/>
                <a:gd name="T4" fmla="*/ 2 w 37"/>
                <a:gd name="T5" fmla="*/ 11 h 23"/>
                <a:gd name="T6" fmla="*/ 22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2" y="11"/>
                  </a:cubicBezTo>
                  <a:cubicBezTo>
                    <a:pt x="4" y="18"/>
                    <a:pt x="13" y="23"/>
                    <a:pt x="22" y="23"/>
                  </a:cubicBezTo>
                  <a:cubicBezTo>
                    <a:pt x="31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5" name="任意多边形: 形状 454">
              <a:extLst>
                <a:ext uri="{FF2B5EF4-FFF2-40B4-BE49-F238E27FC236}">
                  <a16:creationId xmlns:a16="http://schemas.microsoft.com/office/drawing/2014/main" id="{0B6FD8AA-2757-4168-B22F-FC160E05DDD8}"/>
                </a:ext>
              </a:extLst>
            </p:cNvPr>
            <p:cNvSpPr/>
            <p:nvPr/>
          </p:nvSpPr>
          <p:spPr bwMode="auto">
            <a:xfrm>
              <a:off x="8105400" y="3010774"/>
              <a:ext cx="131151" cy="83319"/>
            </a:xfrm>
            <a:custGeom>
              <a:avLst/>
              <a:gdLst>
                <a:gd name="T0" fmla="*/ 34 w 36"/>
                <a:gd name="T1" fmla="*/ 11 h 23"/>
                <a:gd name="T2" fmla="*/ 14 w 36"/>
                <a:gd name="T3" fmla="*/ 0 h 23"/>
                <a:gd name="T4" fmla="*/ 1 w 36"/>
                <a:gd name="T5" fmla="*/ 11 h 23"/>
                <a:gd name="T6" fmla="*/ 22 w 36"/>
                <a:gd name="T7" fmla="*/ 23 h 23"/>
                <a:gd name="T8" fmla="*/ 34 w 36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3">
                  <a:moveTo>
                    <a:pt x="34" y="11"/>
                  </a:moveTo>
                  <a:cubicBezTo>
                    <a:pt x="32" y="5"/>
                    <a:pt x="23" y="0"/>
                    <a:pt x="14" y="0"/>
                  </a:cubicBezTo>
                  <a:cubicBezTo>
                    <a:pt x="5" y="0"/>
                    <a:pt x="0" y="5"/>
                    <a:pt x="1" y="11"/>
                  </a:cubicBezTo>
                  <a:cubicBezTo>
                    <a:pt x="3" y="18"/>
                    <a:pt x="12" y="23"/>
                    <a:pt x="22" y="23"/>
                  </a:cubicBezTo>
                  <a:cubicBezTo>
                    <a:pt x="31" y="23"/>
                    <a:pt x="36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6" name="任意多边形: 形状 455">
              <a:extLst>
                <a:ext uri="{FF2B5EF4-FFF2-40B4-BE49-F238E27FC236}">
                  <a16:creationId xmlns:a16="http://schemas.microsoft.com/office/drawing/2014/main" id="{D2AB6FF8-A74F-4BF4-826A-4673FD3527CD}"/>
                </a:ext>
              </a:extLst>
            </p:cNvPr>
            <p:cNvSpPr/>
            <p:nvPr/>
          </p:nvSpPr>
          <p:spPr bwMode="auto">
            <a:xfrm>
              <a:off x="8397018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14 w 37"/>
                <a:gd name="T3" fmla="*/ 0 h 23"/>
                <a:gd name="T4" fmla="*/ 2 w 37"/>
                <a:gd name="T5" fmla="*/ 11 h 23"/>
                <a:gd name="T6" fmla="*/ 23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4" y="18"/>
                    <a:pt x="13" y="23"/>
                    <a:pt x="23" y="23"/>
                  </a:cubicBezTo>
                  <a:cubicBezTo>
                    <a:pt x="32" y="23"/>
                    <a:pt x="37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7" name="任意多边形: 形状 456">
              <a:extLst>
                <a:ext uri="{FF2B5EF4-FFF2-40B4-BE49-F238E27FC236}">
                  <a16:creationId xmlns:a16="http://schemas.microsoft.com/office/drawing/2014/main" id="{963601EF-B6CB-458F-A1C1-152486D68291}"/>
                </a:ext>
              </a:extLst>
            </p:cNvPr>
            <p:cNvSpPr/>
            <p:nvPr/>
          </p:nvSpPr>
          <p:spPr bwMode="auto">
            <a:xfrm>
              <a:off x="8543597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2 w 38"/>
                <a:gd name="T5" fmla="*/ 11 h 23"/>
                <a:gd name="T6" fmla="*/ 23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2" y="11"/>
                  </a:cubicBezTo>
                  <a:cubicBezTo>
                    <a:pt x="5" y="18"/>
                    <a:pt x="14" y="23"/>
                    <a:pt x="23" y="23"/>
                  </a:cubicBezTo>
                  <a:cubicBezTo>
                    <a:pt x="32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8" name="任意多边形: 形状 457">
              <a:extLst>
                <a:ext uri="{FF2B5EF4-FFF2-40B4-BE49-F238E27FC236}">
                  <a16:creationId xmlns:a16="http://schemas.microsoft.com/office/drawing/2014/main" id="{B247B580-C35A-4A65-9121-900682066BB0}"/>
                </a:ext>
              </a:extLst>
            </p:cNvPr>
            <p:cNvSpPr/>
            <p:nvPr/>
          </p:nvSpPr>
          <p:spPr bwMode="auto">
            <a:xfrm>
              <a:off x="868863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14 w 38"/>
                <a:gd name="T3" fmla="*/ 0 h 23"/>
                <a:gd name="T4" fmla="*/ 3 w 38"/>
                <a:gd name="T5" fmla="*/ 11 h 23"/>
                <a:gd name="T6" fmla="*/ 2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5" y="0"/>
                    <a:pt x="0" y="5"/>
                    <a:pt x="3" y="11"/>
                  </a:cubicBezTo>
                  <a:cubicBezTo>
                    <a:pt x="5" y="18"/>
                    <a:pt x="14" y="23"/>
                    <a:pt x="24" y="23"/>
                  </a:cubicBezTo>
                  <a:cubicBezTo>
                    <a:pt x="33" y="23"/>
                    <a:pt x="38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9" name="任意多边形: 形状 458">
              <a:extLst>
                <a:ext uri="{FF2B5EF4-FFF2-40B4-BE49-F238E27FC236}">
                  <a16:creationId xmlns:a16="http://schemas.microsoft.com/office/drawing/2014/main" id="{47E09C5C-FA92-4201-82D0-09E16DD0A458}"/>
                </a:ext>
              </a:extLst>
            </p:cNvPr>
            <p:cNvSpPr/>
            <p:nvPr/>
          </p:nvSpPr>
          <p:spPr bwMode="auto">
            <a:xfrm>
              <a:off x="7838471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2 w 37"/>
                <a:gd name="T5" fmla="*/ 12 h 24"/>
                <a:gd name="T6" fmla="*/ 21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2" y="12"/>
                  </a:cubicBezTo>
                  <a:cubicBezTo>
                    <a:pt x="3" y="19"/>
                    <a:pt x="12" y="24"/>
                    <a:pt x="21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0" name="任意多边形: 形状 459">
              <a:extLst>
                <a:ext uri="{FF2B5EF4-FFF2-40B4-BE49-F238E27FC236}">
                  <a16:creationId xmlns:a16="http://schemas.microsoft.com/office/drawing/2014/main" id="{16945924-EE80-4508-87DA-4D6A4C96B435}"/>
                </a:ext>
              </a:extLst>
            </p:cNvPr>
            <p:cNvSpPr/>
            <p:nvPr/>
          </p:nvSpPr>
          <p:spPr bwMode="auto">
            <a:xfrm>
              <a:off x="7988136" y="3112609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1" name="任意多边形: 形状 460">
              <a:extLst>
                <a:ext uri="{FF2B5EF4-FFF2-40B4-BE49-F238E27FC236}">
                  <a16:creationId xmlns:a16="http://schemas.microsoft.com/office/drawing/2014/main" id="{D4367E3D-1505-4F4F-9AED-D560E15DF72A}"/>
                </a:ext>
              </a:extLst>
            </p:cNvPr>
            <p:cNvSpPr/>
            <p:nvPr/>
          </p:nvSpPr>
          <p:spPr bwMode="auto">
            <a:xfrm>
              <a:off x="8434048" y="3112609"/>
              <a:ext cx="138865" cy="87948"/>
            </a:xfrm>
            <a:custGeom>
              <a:avLst/>
              <a:gdLst>
                <a:gd name="T0" fmla="*/ 35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3 w 38"/>
                <a:gd name="T7" fmla="*/ 24 h 24"/>
                <a:gd name="T8" fmla="*/ 35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5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4" y="19"/>
                    <a:pt x="13" y="24"/>
                    <a:pt x="23" y="24"/>
                  </a:cubicBezTo>
                  <a:cubicBezTo>
                    <a:pt x="32" y="24"/>
                    <a:pt x="38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2" name="任意多边形: 形状 461">
              <a:extLst>
                <a:ext uri="{FF2B5EF4-FFF2-40B4-BE49-F238E27FC236}">
                  <a16:creationId xmlns:a16="http://schemas.microsoft.com/office/drawing/2014/main" id="{C65D3962-20D1-4211-AE16-60F801904D00}"/>
                </a:ext>
              </a:extLst>
            </p:cNvPr>
            <p:cNvSpPr/>
            <p:nvPr/>
          </p:nvSpPr>
          <p:spPr bwMode="auto">
            <a:xfrm>
              <a:off x="8579085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6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3" name="任意多边形: 形状 462">
              <a:extLst>
                <a:ext uri="{FF2B5EF4-FFF2-40B4-BE49-F238E27FC236}">
                  <a16:creationId xmlns:a16="http://schemas.microsoft.com/office/drawing/2014/main" id="{D787DACB-DB70-41F1-915A-4673C284ACA3}"/>
                </a:ext>
              </a:extLst>
            </p:cNvPr>
            <p:cNvSpPr/>
            <p:nvPr/>
          </p:nvSpPr>
          <p:spPr bwMode="auto">
            <a:xfrm>
              <a:off x="8728751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3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4" y="0"/>
                    <a:pt x="15" y="0"/>
                  </a:cubicBezTo>
                  <a:cubicBezTo>
                    <a:pt x="5" y="0"/>
                    <a:pt x="0" y="6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4" name="任意多边形: 形状 463">
              <a:extLst>
                <a:ext uri="{FF2B5EF4-FFF2-40B4-BE49-F238E27FC236}">
                  <a16:creationId xmlns:a16="http://schemas.microsoft.com/office/drawing/2014/main" id="{59AEF869-9441-4626-AEC6-211E6C7B03FA}"/>
                </a:ext>
              </a:extLst>
            </p:cNvPr>
            <p:cNvSpPr/>
            <p:nvPr/>
          </p:nvSpPr>
          <p:spPr bwMode="auto">
            <a:xfrm>
              <a:off x="8878417" y="3112609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4 w 38"/>
                <a:gd name="T3" fmla="*/ 0 h 24"/>
                <a:gd name="T4" fmla="*/ 2 w 38"/>
                <a:gd name="T5" fmla="*/ 12 h 24"/>
                <a:gd name="T6" fmla="*/ 24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3" y="6"/>
                    <a:pt x="23" y="0"/>
                    <a:pt x="14" y="0"/>
                  </a:cubicBezTo>
                  <a:cubicBezTo>
                    <a:pt x="5" y="0"/>
                    <a:pt x="0" y="6"/>
                    <a:pt x="2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3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5" name="任意多边形: 形状 464">
              <a:extLst>
                <a:ext uri="{FF2B5EF4-FFF2-40B4-BE49-F238E27FC236}">
                  <a16:creationId xmlns:a16="http://schemas.microsoft.com/office/drawing/2014/main" id="{32CBFDB6-5F61-46AD-8A04-7A77DB90AE0B}"/>
                </a:ext>
              </a:extLst>
            </p:cNvPr>
            <p:cNvSpPr/>
            <p:nvPr/>
          </p:nvSpPr>
          <p:spPr bwMode="auto">
            <a:xfrm>
              <a:off x="7867787" y="3222158"/>
              <a:ext cx="135779" cy="87948"/>
            </a:xfrm>
            <a:custGeom>
              <a:avLst/>
              <a:gdLst>
                <a:gd name="T0" fmla="*/ 35 w 37"/>
                <a:gd name="T1" fmla="*/ 12 h 24"/>
                <a:gd name="T2" fmla="*/ 15 w 37"/>
                <a:gd name="T3" fmla="*/ 0 h 24"/>
                <a:gd name="T4" fmla="*/ 1 w 37"/>
                <a:gd name="T5" fmla="*/ 12 h 24"/>
                <a:gd name="T6" fmla="*/ 22 w 37"/>
                <a:gd name="T7" fmla="*/ 24 h 24"/>
                <a:gd name="T8" fmla="*/ 35 w 37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4">
                  <a:moveTo>
                    <a:pt x="35" y="12"/>
                  </a:moveTo>
                  <a:cubicBezTo>
                    <a:pt x="33" y="5"/>
                    <a:pt x="24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4"/>
                    <a:pt x="22" y="24"/>
                  </a:cubicBezTo>
                  <a:cubicBezTo>
                    <a:pt x="31" y="24"/>
                    <a:pt x="37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6" name="任意多边形: 形状 465">
              <a:extLst>
                <a:ext uri="{FF2B5EF4-FFF2-40B4-BE49-F238E27FC236}">
                  <a16:creationId xmlns:a16="http://schemas.microsoft.com/office/drawing/2014/main" id="{0A23FECD-B3C9-4493-B438-0CA67AE3F77C}"/>
                </a:ext>
              </a:extLst>
            </p:cNvPr>
            <p:cNvSpPr/>
            <p:nvPr/>
          </p:nvSpPr>
          <p:spPr bwMode="auto">
            <a:xfrm>
              <a:off x="8017453" y="3222158"/>
              <a:ext cx="138865" cy="87948"/>
            </a:xfrm>
            <a:custGeom>
              <a:avLst/>
              <a:gdLst>
                <a:gd name="T0" fmla="*/ 36 w 38"/>
                <a:gd name="T1" fmla="*/ 12 h 24"/>
                <a:gd name="T2" fmla="*/ 15 w 38"/>
                <a:gd name="T3" fmla="*/ 0 h 24"/>
                <a:gd name="T4" fmla="*/ 2 w 38"/>
                <a:gd name="T5" fmla="*/ 12 h 24"/>
                <a:gd name="T6" fmla="*/ 22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2" y="12"/>
                  </a:cubicBezTo>
                  <a:cubicBezTo>
                    <a:pt x="4" y="19"/>
                    <a:pt x="13" y="24"/>
                    <a:pt x="22" y="24"/>
                  </a:cubicBezTo>
                  <a:cubicBezTo>
                    <a:pt x="32" y="24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7" name="任意多边形: 形状 466">
              <a:extLst>
                <a:ext uri="{FF2B5EF4-FFF2-40B4-BE49-F238E27FC236}">
                  <a16:creationId xmlns:a16="http://schemas.microsoft.com/office/drawing/2014/main" id="{898B96D0-6F97-4443-9835-6F9025C26682}"/>
                </a:ext>
              </a:extLst>
            </p:cNvPr>
            <p:cNvSpPr/>
            <p:nvPr/>
          </p:nvSpPr>
          <p:spPr bwMode="auto">
            <a:xfrm>
              <a:off x="8619202" y="3222158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15 w 39"/>
                <a:gd name="T3" fmla="*/ 0 h 24"/>
                <a:gd name="T4" fmla="*/ 2 w 39"/>
                <a:gd name="T5" fmla="*/ 12 h 24"/>
                <a:gd name="T6" fmla="*/ 2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4" y="24"/>
                    <a:pt x="24" y="24"/>
                  </a:cubicBezTo>
                  <a:cubicBezTo>
                    <a:pt x="33" y="24"/>
                    <a:pt x="39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8" name="任意多边形: 形状 467">
              <a:extLst>
                <a:ext uri="{FF2B5EF4-FFF2-40B4-BE49-F238E27FC236}">
                  <a16:creationId xmlns:a16="http://schemas.microsoft.com/office/drawing/2014/main" id="{E2E9167C-73A8-424B-B3F8-EADED6DD615B}"/>
                </a:ext>
              </a:extLst>
            </p:cNvPr>
            <p:cNvSpPr/>
            <p:nvPr/>
          </p:nvSpPr>
          <p:spPr bwMode="auto">
            <a:xfrm>
              <a:off x="8768867" y="3222158"/>
              <a:ext cx="143495" cy="87948"/>
            </a:xfrm>
            <a:custGeom>
              <a:avLst/>
              <a:gdLst>
                <a:gd name="T0" fmla="*/ 37 w 39"/>
                <a:gd name="T1" fmla="*/ 12 h 24"/>
                <a:gd name="T2" fmla="*/ 15 w 39"/>
                <a:gd name="T3" fmla="*/ 0 h 24"/>
                <a:gd name="T4" fmla="*/ 3 w 39"/>
                <a:gd name="T5" fmla="*/ 12 h 24"/>
                <a:gd name="T6" fmla="*/ 24 w 39"/>
                <a:gd name="T7" fmla="*/ 24 h 24"/>
                <a:gd name="T8" fmla="*/ 37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5" y="19"/>
                    <a:pt x="15" y="24"/>
                    <a:pt x="24" y="24"/>
                  </a:cubicBezTo>
                  <a:cubicBezTo>
                    <a:pt x="34" y="24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9" name="任意多边形: 形状 468">
              <a:extLst>
                <a:ext uri="{FF2B5EF4-FFF2-40B4-BE49-F238E27FC236}">
                  <a16:creationId xmlns:a16="http://schemas.microsoft.com/office/drawing/2014/main" id="{9D81B9A9-9271-43C9-B975-11FC2B3558C0}"/>
                </a:ext>
              </a:extLst>
            </p:cNvPr>
            <p:cNvSpPr/>
            <p:nvPr/>
          </p:nvSpPr>
          <p:spPr bwMode="auto">
            <a:xfrm>
              <a:off x="8918534" y="3222158"/>
              <a:ext cx="146580" cy="87948"/>
            </a:xfrm>
            <a:custGeom>
              <a:avLst/>
              <a:gdLst>
                <a:gd name="T0" fmla="*/ 37 w 40"/>
                <a:gd name="T1" fmla="*/ 12 h 24"/>
                <a:gd name="T2" fmla="*/ 15 w 40"/>
                <a:gd name="T3" fmla="*/ 0 h 24"/>
                <a:gd name="T4" fmla="*/ 3 w 40"/>
                <a:gd name="T5" fmla="*/ 12 h 24"/>
                <a:gd name="T6" fmla="*/ 2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6" y="0"/>
                    <a:pt x="0" y="5"/>
                    <a:pt x="3" y="12"/>
                  </a:cubicBezTo>
                  <a:cubicBezTo>
                    <a:pt x="6" y="19"/>
                    <a:pt x="16" y="24"/>
                    <a:pt x="25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0" name="任意多边形: 形状 469">
              <a:extLst>
                <a:ext uri="{FF2B5EF4-FFF2-40B4-BE49-F238E27FC236}">
                  <a16:creationId xmlns:a16="http://schemas.microsoft.com/office/drawing/2014/main" id="{6A539528-B635-4CE9-99D4-E9FE93068277}"/>
                </a:ext>
              </a:extLst>
            </p:cNvPr>
            <p:cNvSpPr/>
            <p:nvPr/>
          </p:nvSpPr>
          <p:spPr bwMode="auto">
            <a:xfrm>
              <a:off x="7897103" y="3331707"/>
              <a:ext cx="138865" cy="91034"/>
            </a:xfrm>
            <a:custGeom>
              <a:avLst/>
              <a:gdLst>
                <a:gd name="T0" fmla="*/ 36 w 38"/>
                <a:gd name="T1" fmla="*/ 12 h 25"/>
                <a:gd name="T2" fmla="*/ 15 w 38"/>
                <a:gd name="T3" fmla="*/ 0 h 25"/>
                <a:gd name="T4" fmla="*/ 1 w 38"/>
                <a:gd name="T5" fmla="*/ 12 h 25"/>
                <a:gd name="T6" fmla="*/ 22 w 38"/>
                <a:gd name="T7" fmla="*/ 25 h 25"/>
                <a:gd name="T8" fmla="*/ 36 w 38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5">
                  <a:moveTo>
                    <a:pt x="36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6" y="0"/>
                    <a:pt x="0" y="5"/>
                    <a:pt x="1" y="12"/>
                  </a:cubicBezTo>
                  <a:cubicBezTo>
                    <a:pt x="3" y="19"/>
                    <a:pt x="12" y="25"/>
                    <a:pt x="22" y="25"/>
                  </a:cubicBezTo>
                  <a:cubicBezTo>
                    <a:pt x="32" y="25"/>
                    <a:pt x="38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1" name="任意多边形: 形状 470">
              <a:extLst>
                <a:ext uri="{FF2B5EF4-FFF2-40B4-BE49-F238E27FC236}">
                  <a16:creationId xmlns:a16="http://schemas.microsoft.com/office/drawing/2014/main" id="{2F03B389-AC41-4BAF-8DC8-D72DC5C9C754}"/>
                </a:ext>
              </a:extLst>
            </p:cNvPr>
            <p:cNvSpPr/>
            <p:nvPr/>
          </p:nvSpPr>
          <p:spPr bwMode="auto">
            <a:xfrm>
              <a:off x="8659319" y="3331707"/>
              <a:ext cx="143495" cy="91034"/>
            </a:xfrm>
            <a:custGeom>
              <a:avLst/>
              <a:gdLst>
                <a:gd name="T0" fmla="*/ 37 w 39"/>
                <a:gd name="T1" fmla="*/ 12 h 25"/>
                <a:gd name="T2" fmla="*/ 15 w 39"/>
                <a:gd name="T3" fmla="*/ 0 h 25"/>
                <a:gd name="T4" fmla="*/ 2 w 39"/>
                <a:gd name="T5" fmla="*/ 12 h 25"/>
                <a:gd name="T6" fmla="*/ 24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19"/>
                    <a:pt x="15" y="25"/>
                    <a:pt x="24" y="25"/>
                  </a:cubicBezTo>
                  <a:cubicBezTo>
                    <a:pt x="34" y="25"/>
                    <a:pt x="39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2" name="任意多边形: 形状 471">
              <a:extLst>
                <a:ext uri="{FF2B5EF4-FFF2-40B4-BE49-F238E27FC236}">
                  <a16:creationId xmlns:a16="http://schemas.microsoft.com/office/drawing/2014/main" id="{350A5175-DCD2-498D-868F-5B2BF96AA976}"/>
                </a:ext>
              </a:extLst>
            </p:cNvPr>
            <p:cNvSpPr/>
            <p:nvPr/>
          </p:nvSpPr>
          <p:spPr bwMode="auto">
            <a:xfrm>
              <a:off x="8856816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5 w 40"/>
                <a:gd name="T3" fmla="*/ 0 h 26"/>
                <a:gd name="T4" fmla="*/ 2 w 40"/>
                <a:gd name="T5" fmla="*/ 12 h 26"/>
                <a:gd name="T6" fmla="*/ 2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5" y="26"/>
                    <a:pt x="25" y="26"/>
                  </a:cubicBezTo>
                  <a:cubicBezTo>
                    <a:pt x="34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3" name="任意多边形: 形状 472">
              <a:extLst>
                <a:ext uri="{FF2B5EF4-FFF2-40B4-BE49-F238E27FC236}">
                  <a16:creationId xmlns:a16="http://schemas.microsoft.com/office/drawing/2014/main" id="{F0B2459D-E183-4CA5-87CA-8D9E5B28D283}"/>
                </a:ext>
              </a:extLst>
            </p:cNvPr>
            <p:cNvSpPr/>
            <p:nvPr/>
          </p:nvSpPr>
          <p:spPr bwMode="auto">
            <a:xfrm>
              <a:off x="5905159" y="2714528"/>
              <a:ext cx="112636" cy="80233"/>
            </a:xfrm>
            <a:custGeom>
              <a:avLst/>
              <a:gdLst>
                <a:gd name="T0" fmla="*/ 31 w 31"/>
                <a:gd name="T1" fmla="*/ 11 h 22"/>
                <a:gd name="T2" fmla="*/ 15 w 31"/>
                <a:gd name="T3" fmla="*/ 0 h 22"/>
                <a:gd name="T4" fmla="*/ 0 w 31"/>
                <a:gd name="T5" fmla="*/ 11 h 22"/>
                <a:gd name="T6" fmla="*/ 16 w 31"/>
                <a:gd name="T7" fmla="*/ 22 h 22"/>
                <a:gd name="T8" fmla="*/ 31 w 31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2">
                  <a:moveTo>
                    <a:pt x="31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1" y="17"/>
                    <a:pt x="31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4" name="任意多边形: 形状 473">
              <a:extLst>
                <a:ext uri="{FF2B5EF4-FFF2-40B4-BE49-F238E27FC236}">
                  <a16:creationId xmlns:a16="http://schemas.microsoft.com/office/drawing/2014/main" id="{BB2D6D68-DE12-4BCD-B154-76268B7C699C}"/>
                </a:ext>
              </a:extLst>
            </p:cNvPr>
            <p:cNvSpPr/>
            <p:nvPr/>
          </p:nvSpPr>
          <p:spPr bwMode="auto">
            <a:xfrm>
              <a:off x="6044024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5" name="任意多边形: 形状 474">
              <a:extLst>
                <a:ext uri="{FF2B5EF4-FFF2-40B4-BE49-F238E27FC236}">
                  <a16:creationId xmlns:a16="http://schemas.microsoft.com/office/drawing/2014/main" id="{D88C93D3-B9FD-4908-A6EB-1BE7FAE0168A}"/>
                </a:ext>
              </a:extLst>
            </p:cNvPr>
            <p:cNvSpPr/>
            <p:nvPr/>
          </p:nvSpPr>
          <p:spPr bwMode="auto">
            <a:xfrm>
              <a:off x="6185975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5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1" y="5"/>
                    <a:pt x="24" y="0"/>
                    <a:pt x="15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6" name="任意多边形: 形状 475">
              <a:extLst>
                <a:ext uri="{FF2B5EF4-FFF2-40B4-BE49-F238E27FC236}">
                  <a16:creationId xmlns:a16="http://schemas.microsoft.com/office/drawing/2014/main" id="{1CC74BB2-D130-420D-8A6E-62F13FCB1393}"/>
                </a:ext>
              </a:extLst>
            </p:cNvPr>
            <p:cNvSpPr/>
            <p:nvPr/>
          </p:nvSpPr>
          <p:spPr bwMode="auto">
            <a:xfrm>
              <a:off x="6324840" y="2714528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7" name="任意多边形: 形状 476">
              <a:extLst>
                <a:ext uri="{FF2B5EF4-FFF2-40B4-BE49-F238E27FC236}">
                  <a16:creationId xmlns:a16="http://schemas.microsoft.com/office/drawing/2014/main" id="{D6602DB9-22C9-4D28-A5AF-A1D3EB9F1364}"/>
                </a:ext>
              </a:extLst>
            </p:cNvPr>
            <p:cNvSpPr/>
            <p:nvPr/>
          </p:nvSpPr>
          <p:spPr bwMode="auto">
            <a:xfrm>
              <a:off x="7087056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1" y="15"/>
                  </a:cubicBezTo>
                  <a:cubicBezTo>
                    <a:pt x="2" y="23"/>
                    <a:pt x="12" y="30"/>
                    <a:pt x="22" y="30"/>
                  </a:cubicBezTo>
                  <a:cubicBezTo>
                    <a:pt x="33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8" name="任意多边形: 形状 477">
              <a:extLst>
                <a:ext uri="{FF2B5EF4-FFF2-40B4-BE49-F238E27FC236}">
                  <a16:creationId xmlns:a16="http://schemas.microsoft.com/office/drawing/2014/main" id="{00105113-7757-4754-9F9A-B8DDB412CCC9}"/>
                </a:ext>
              </a:extLst>
            </p:cNvPr>
            <p:cNvSpPr/>
            <p:nvPr/>
          </p:nvSpPr>
          <p:spPr bwMode="auto">
            <a:xfrm>
              <a:off x="6937390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2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8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2" y="31"/>
                    <a:pt x="22" y="31"/>
                  </a:cubicBezTo>
                  <a:cubicBezTo>
                    <a:pt x="33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9" name="任意多边形: 形状 478">
              <a:extLst>
                <a:ext uri="{FF2B5EF4-FFF2-40B4-BE49-F238E27FC236}">
                  <a16:creationId xmlns:a16="http://schemas.microsoft.com/office/drawing/2014/main" id="{35D33CE8-3B50-416B-93E9-D8CB2A7C0BAC}"/>
                </a:ext>
              </a:extLst>
            </p:cNvPr>
            <p:cNvSpPr/>
            <p:nvPr/>
          </p:nvSpPr>
          <p:spPr bwMode="auto">
            <a:xfrm>
              <a:off x="7105571" y="4198843"/>
              <a:ext cx="149666" cy="112636"/>
            </a:xfrm>
            <a:custGeom>
              <a:avLst/>
              <a:gdLst>
                <a:gd name="T0" fmla="*/ 40 w 41"/>
                <a:gd name="T1" fmla="*/ 15 h 31"/>
                <a:gd name="T2" fmla="*/ 18 w 41"/>
                <a:gd name="T3" fmla="*/ 0 h 31"/>
                <a:gd name="T4" fmla="*/ 2 w 41"/>
                <a:gd name="T5" fmla="*/ 15 h 31"/>
                <a:gd name="T6" fmla="*/ 23 w 41"/>
                <a:gd name="T7" fmla="*/ 31 h 31"/>
                <a:gd name="T8" fmla="*/ 40 w 41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1">
                  <a:moveTo>
                    <a:pt x="40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2" y="15"/>
                  </a:cubicBezTo>
                  <a:cubicBezTo>
                    <a:pt x="3" y="24"/>
                    <a:pt x="13" y="31"/>
                    <a:pt x="23" y="31"/>
                  </a:cubicBezTo>
                  <a:cubicBezTo>
                    <a:pt x="34" y="31"/>
                    <a:pt x="41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0" name="任意多边形: 形状 479">
              <a:extLst>
                <a:ext uri="{FF2B5EF4-FFF2-40B4-BE49-F238E27FC236}">
                  <a16:creationId xmlns:a16="http://schemas.microsoft.com/office/drawing/2014/main" id="{6021D6B7-564B-4706-94CD-7CD2871B8B72}"/>
                </a:ext>
              </a:extLst>
            </p:cNvPr>
            <p:cNvSpPr/>
            <p:nvPr/>
          </p:nvSpPr>
          <p:spPr bwMode="auto">
            <a:xfrm>
              <a:off x="6955906" y="4337708"/>
              <a:ext cx="149666" cy="115721"/>
            </a:xfrm>
            <a:custGeom>
              <a:avLst/>
              <a:gdLst>
                <a:gd name="T0" fmla="*/ 40 w 41"/>
                <a:gd name="T1" fmla="*/ 16 h 32"/>
                <a:gd name="T2" fmla="*/ 18 w 41"/>
                <a:gd name="T3" fmla="*/ 0 h 32"/>
                <a:gd name="T4" fmla="*/ 1 w 41"/>
                <a:gd name="T5" fmla="*/ 16 h 32"/>
                <a:gd name="T6" fmla="*/ 23 w 41"/>
                <a:gd name="T7" fmla="*/ 32 h 32"/>
                <a:gd name="T8" fmla="*/ 40 w 41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2">
                  <a:moveTo>
                    <a:pt x="40" y="16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2" y="25"/>
                    <a:pt x="12" y="32"/>
                    <a:pt x="23" y="32"/>
                  </a:cubicBezTo>
                  <a:cubicBezTo>
                    <a:pt x="33" y="32"/>
                    <a:pt x="41" y="25"/>
                    <a:pt x="40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1" name="任意多边形: 形状 480">
              <a:extLst>
                <a:ext uri="{FF2B5EF4-FFF2-40B4-BE49-F238E27FC236}">
                  <a16:creationId xmlns:a16="http://schemas.microsoft.com/office/drawing/2014/main" id="{8E106154-7FB2-4D46-8CEB-2F1E572DF6CF}"/>
                </a:ext>
              </a:extLst>
            </p:cNvPr>
            <p:cNvSpPr/>
            <p:nvPr/>
          </p:nvSpPr>
          <p:spPr bwMode="auto">
            <a:xfrm>
              <a:off x="696362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6 w 36"/>
                <a:gd name="T3" fmla="*/ 0 h 24"/>
                <a:gd name="T4" fmla="*/ 1 w 36"/>
                <a:gd name="T5" fmla="*/ 12 h 24"/>
                <a:gd name="T6" fmla="*/ 20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20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2" name="任意多边形: 形状 481">
              <a:extLst>
                <a:ext uri="{FF2B5EF4-FFF2-40B4-BE49-F238E27FC236}">
                  <a16:creationId xmlns:a16="http://schemas.microsoft.com/office/drawing/2014/main" id="{427E2134-2EB8-457C-A7D6-9241092AB534}"/>
                </a:ext>
              </a:extLst>
            </p:cNvPr>
            <p:cNvSpPr/>
            <p:nvPr/>
          </p:nvSpPr>
          <p:spPr bwMode="auto">
            <a:xfrm>
              <a:off x="5343526" y="2623495"/>
              <a:ext cx="115721" cy="72519"/>
            </a:xfrm>
            <a:custGeom>
              <a:avLst/>
              <a:gdLst>
                <a:gd name="T0" fmla="*/ 32 w 32"/>
                <a:gd name="T1" fmla="*/ 10 h 20"/>
                <a:gd name="T2" fmla="*/ 17 w 32"/>
                <a:gd name="T3" fmla="*/ 0 h 20"/>
                <a:gd name="T4" fmla="*/ 1 w 32"/>
                <a:gd name="T5" fmla="*/ 10 h 20"/>
                <a:gd name="T6" fmla="*/ 16 w 32"/>
                <a:gd name="T7" fmla="*/ 20 h 20"/>
                <a:gd name="T8" fmla="*/ 32 w 32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">
                  <a:moveTo>
                    <a:pt x="32" y="10"/>
                  </a:moveTo>
                  <a:cubicBezTo>
                    <a:pt x="32" y="4"/>
                    <a:pt x="26" y="0"/>
                    <a:pt x="17" y="0"/>
                  </a:cubicBezTo>
                  <a:cubicBezTo>
                    <a:pt x="8" y="0"/>
                    <a:pt x="1" y="4"/>
                    <a:pt x="1" y="10"/>
                  </a:cubicBezTo>
                  <a:cubicBezTo>
                    <a:pt x="0" y="16"/>
                    <a:pt x="7" y="20"/>
                    <a:pt x="16" y="20"/>
                  </a:cubicBezTo>
                  <a:cubicBezTo>
                    <a:pt x="24" y="20"/>
                    <a:pt x="32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3" name="任意多边形: 形状 482">
              <a:extLst>
                <a:ext uri="{FF2B5EF4-FFF2-40B4-BE49-F238E27FC236}">
                  <a16:creationId xmlns:a16="http://schemas.microsoft.com/office/drawing/2014/main" id="{36C496DC-4069-4501-9062-9462FCE77E2D}"/>
                </a:ext>
              </a:extLst>
            </p:cNvPr>
            <p:cNvSpPr/>
            <p:nvPr/>
          </p:nvSpPr>
          <p:spPr bwMode="auto">
            <a:xfrm>
              <a:off x="5485477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6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4" name="任意多边形: 形状 483">
              <a:extLst>
                <a:ext uri="{FF2B5EF4-FFF2-40B4-BE49-F238E27FC236}">
                  <a16:creationId xmlns:a16="http://schemas.microsoft.com/office/drawing/2014/main" id="{9CCE7BAF-DF00-44C2-B7AC-C84BD94D6E7F}"/>
                </a:ext>
              </a:extLst>
            </p:cNvPr>
            <p:cNvSpPr/>
            <p:nvPr/>
          </p:nvSpPr>
          <p:spPr bwMode="auto">
            <a:xfrm>
              <a:off x="5624342" y="2623495"/>
              <a:ext cx="112636" cy="72519"/>
            </a:xfrm>
            <a:custGeom>
              <a:avLst/>
              <a:gdLst>
                <a:gd name="T0" fmla="*/ 31 w 31"/>
                <a:gd name="T1" fmla="*/ 10 h 20"/>
                <a:gd name="T2" fmla="*/ 16 w 31"/>
                <a:gd name="T3" fmla="*/ 0 h 20"/>
                <a:gd name="T4" fmla="*/ 0 w 31"/>
                <a:gd name="T5" fmla="*/ 10 h 20"/>
                <a:gd name="T6" fmla="*/ 15 w 31"/>
                <a:gd name="T7" fmla="*/ 20 h 20"/>
                <a:gd name="T8" fmla="*/ 31 w 31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0">
                  <a:moveTo>
                    <a:pt x="31" y="10"/>
                  </a:moveTo>
                  <a:cubicBezTo>
                    <a:pt x="31" y="4"/>
                    <a:pt x="24" y="0"/>
                    <a:pt x="16" y="0"/>
                  </a:cubicBezTo>
                  <a:cubicBezTo>
                    <a:pt x="7" y="0"/>
                    <a:pt x="0" y="4"/>
                    <a:pt x="0" y="10"/>
                  </a:cubicBezTo>
                  <a:cubicBezTo>
                    <a:pt x="0" y="16"/>
                    <a:pt x="7" y="20"/>
                    <a:pt x="15" y="20"/>
                  </a:cubicBezTo>
                  <a:cubicBezTo>
                    <a:pt x="24" y="20"/>
                    <a:pt x="31" y="16"/>
                    <a:pt x="31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5" name="任意多边形: 形状 484">
              <a:extLst>
                <a:ext uri="{FF2B5EF4-FFF2-40B4-BE49-F238E27FC236}">
                  <a16:creationId xmlns:a16="http://schemas.microsoft.com/office/drawing/2014/main" id="{74E2C93D-75E3-4C18-B26A-ECA768198701}"/>
                </a:ext>
              </a:extLst>
            </p:cNvPr>
            <p:cNvSpPr/>
            <p:nvPr/>
          </p:nvSpPr>
          <p:spPr bwMode="auto">
            <a:xfrm>
              <a:off x="5196947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6" name="任意多边形: 形状 485">
              <a:extLst>
                <a:ext uri="{FF2B5EF4-FFF2-40B4-BE49-F238E27FC236}">
                  <a16:creationId xmlns:a16="http://schemas.microsoft.com/office/drawing/2014/main" id="{3489B438-4B95-4831-98A5-60C957E99112}"/>
                </a:ext>
              </a:extLst>
            </p:cNvPr>
            <p:cNvSpPr/>
            <p:nvPr/>
          </p:nvSpPr>
          <p:spPr bwMode="auto">
            <a:xfrm>
              <a:off x="5338898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5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7"/>
                    <a:pt x="6" y="22"/>
                    <a:pt x="15" y="22"/>
                  </a:cubicBezTo>
                  <a:cubicBezTo>
                    <a:pt x="24" y="22"/>
                    <a:pt x="31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7" name="任意多边形: 形状 486">
              <a:extLst>
                <a:ext uri="{FF2B5EF4-FFF2-40B4-BE49-F238E27FC236}">
                  <a16:creationId xmlns:a16="http://schemas.microsoft.com/office/drawing/2014/main" id="{F5AD64D3-5AE5-4887-AD45-BB73FC8EDEB2}"/>
                </a:ext>
              </a:extLst>
            </p:cNvPr>
            <p:cNvSpPr/>
            <p:nvPr/>
          </p:nvSpPr>
          <p:spPr bwMode="auto">
            <a:xfrm>
              <a:off x="5477763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7 w 32"/>
                <a:gd name="T3" fmla="*/ 0 h 22"/>
                <a:gd name="T4" fmla="*/ 1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8" name="任意多边形: 形状 487">
              <a:extLst>
                <a:ext uri="{FF2B5EF4-FFF2-40B4-BE49-F238E27FC236}">
                  <a16:creationId xmlns:a16="http://schemas.microsoft.com/office/drawing/2014/main" id="{921D3B99-5CD8-4D50-A849-EBF36AC47CCD}"/>
                </a:ext>
              </a:extLst>
            </p:cNvPr>
            <p:cNvSpPr/>
            <p:nvPr/>
          </p:nvSpPr>
          <p:spPr bwMode="auto">
            <a:xfrm>
              <a:off x="5619714" y="2714528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9" name="任意多边形: 形状 488">
              <a:extLst>
                <a:ext uri="{FF2B5EF4-FFF2-40B4-BE49-F238E27FC236}">
                  <a16:creationId xmlns:a16="http://schemas.microsoft.com/office/drawing/2014/main" id="{D6B216A9-6AFC-4AE4-8136-5DC84E0E4936}"/>
                </a:ext>
              </a:extLst>
            </p:cNvPr>
            <p:cNvSpPr/>
            <p:nvPr/>
          </p:nvSpPr>
          <p:spPr bwMode="auto">
            <a:xfrm>
              <a:off x="5763207" y="2714528"/>
              <a:ext cx="115721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6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0" name="任意多边形: 形状 489">
              <a:extLst>
                <a:ext uri="{FF2B5EF4-FFF2-40B4-BE49-F238E27FC236}">
                  <a16:creationId xmlns:a16="http://schemas.microsoft.com/office/drawing/2014/main" id="{F0145CDE-54ED-4648-B496-B6BF54988640}"/>
                </a:ext>
              </a:extLst>
            </p:cNvPr>
            <p:cNvSpPr/>
            <p:nvPr/>
          </p:nvSpPr>
          <p:spPr bwMode="auto">
            <a:xfrm>
              <a:off x="5044194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1" name="任意多边形: 形状 490">
              <a:extLst>
                <a:ext uri="{FF2B5EF4-FFF2-40B4-BE49-F238E27FC236}">
                  <a16:creationId xmlns:a16="http://schemas.microsoft.com/office/drawing/2014/main" id="{97E45D0C-E475-46AD-AE6F-C564FFBE5390}"/>
                </a:ext>
              </a:extLst>
            </p:cNvPr>
            <p:cNvSpPr/>
            <p:nvPr/>
          </p:nvSpPr>
          <p:spPr bwMode="auto">
            <a:xfrm>
              <a:off x="5186145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8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2" name="任意多边形: 形状 491">
              <a:extLst>
                <a:ext uri="{FF2B5EF4-FFF2-40B4-BE49-F238E27FC236}">
                  <a16:creationId xmlns:a16="http://schemas.microsoft.com/office/drawing/2014/main" id="{B2FDB95D-E401-4A62-A46B-BD097F3ACCEB}"/>
                </a:ext>
              </a:extLst>
            </p:cNvPr>
            <p:cNvSpPr/>
            <p:nvPr/>
          </p:nvSpPr>
          <p:spPr bwMode="auto">
            <a:xfrm>
              <a:off x="5332726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4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3" name="任意多边形: 形状 492">
              <a:extLst>
                <a:ext uri="{FF2B5EF4-FFF2-40B4-BE49-F238E27FC236}">
                  <a16:creationId xmlns:a16="http://schemas.microsoft.com/office/drawing/2014/main" id="{24CC1596-6122-4AD2-A1E0-9A5D2D7E2EAE}"/>
                </a:ext>
              </a:extLst>
            </p:cNvPr>
            <p:cNvSpPr/>
            <p:nvPr/>
          </p:nvSpPr>
          <p:spPr bwMode="auto">
            <a:xfrm>
              <a:off x="5474677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7 w 33"/>
                <a:gd name="T3" fmla="*/ 0 h 22"/>
                <a:gd name="T4" fmla="*/ 0 w 33"/>
                <a:gd name="T5" fmla="*/ 11 h 22"/>
                <a:gd name="T6" fmla="*/ 16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4" name="任意多边形: 形状 493">
              <a:extLst>
                <a:ext uri="{FF2B5EF4-FFF2-40B4-BE49-F238E27FC236}">
                  <a16:creationId xmlns:a16="http://schemas.microsoft.com/office/drawing/2014/main" id="{62A89C7E-BAAC-4B97-87D5-C712E34BD096}"/>
                </a:ext>
              </a:extLst>
            </p:cNvPr>
            <p:cNvSpPr/>
            <p:nvPr/>
          </p:nvSpPr>
          <p:spPr bwMode="auto">
            <a:xfrm>
              <a:off x="5616628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7 w 33"/>
                <a:gd name="T3" fmla="*/ 0 h 22"/>
                <a:gd name="T4" fmla="*/ 1 w 33"/>
                <a:gd name="T5" fmla="*/ 11 h 22"/>
                <a:gd name="T6" fmla="*/ 16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7"/>
                    <a:pt x="7" y="22"/>
                    <a:pt x="16" y="22"/>
                  </a:cubicBezTo>
                  <a:cubicBezTo>
                    <a:pt x="25" y="22"/>
                    <a:pt x="32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5" name="椭圆 494">
              <a:extLst>
                <a:ext uri="{FF2B5EF4-FFF2-40B4-BE49-F238E27FC236}">
                  <a16:creationId xmlns:a16="http://schemas.microsoft.com/office/drawing/2014/main" id="{C8666FAC-9F7B-4DF1-A0EC-B6FC2D7EB5B6}"/>
                </a:ext>
              </a:extLst>
            </p:cNvPr>
            <p:cNvSpPr/>
            <p:nvPr/>
          </p:nvSpPr>
          <p:spPr bwMode="auto">
            <a:xfrm>
              <a:off x="5763207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6" name="椭圆 495">
              <a:extLst>
                <a:ext uri="{FF2B5EF4-FFF2-40B4-BE49-F238E27FC236}">
                  <a16:creationId xmlns:a16="http://schemas.microsoft.com/office/drawing/2014/main" id="{BC701A82-EA1D-498C-BE97-5A9A543AC769}"/>
                </a:ext>
              </a:extLst>
            </p:cNvPr>
            <p:cNvSpPr/>
            <p:nvPr/>
          </p:nvSpPr>
          <p:spPr bwMode="auto">
            <a:xfrm>
              <a:off x="5905159" y="2810191"/>
              <a:ext cx="115721" cy="8023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7" name="任意多边形: 形状 496">
              <a:extLst>
                <a:ext uri="{FF2B5EF4-FFF2-40B4-BE49-F238E27FC236}">
                  <a16:creationId xmlns:a16="http://schemas.microsoft.com/office/drawing/2014/main" id="{44B93DC6-5251-4279-8952-5341F5EB45F9}"/>
                </a:ext>
              </a:extLst>
            </p:cNvPr>
            <p:cNvSpPr/>
            <p:nvPr/>
          </p:nvSpPr>
          <p:spPr bwMode="auto">
            <a:xfrm>
              <a:off x="6047110" y="2810191"/>
              <a:ext cx="117264" cy="80233"/>
            </a:xfrm>
            <a:custGeom>
              <a:avLst/>
              <a:gdLst>
                <a:gd name="T0" fmla="*/ 32 w 32"/>
                <a:gd name="T1" fmla="*/ 11 h 22"/>
                <a:gd name="T2" fmla="*/ 16 w 32"/>
                <a:gd name="T3" fmla="*/ 0 h 22"/>
                <a:gd name="T4" fmla="*/ 0 w 32"/>
                <a:gd name="T5" fmla="*/ 11 h 22"/>
                <a:gd name="T6" fmla="*/ 17 w 32"/>
                <a:gd name="T7" fmla="*/ 22 h 22"/>
                <a:gd name="T8" fmla="*/ 32 w 32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2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7"/>
                    <a:pt x="8" y="22"/>
                    <a:pt x="17" y="22"/>
                  </a:cubicBezTo>
                  <a:cubicBezTo>
                    <a:pt x="25" y="22"/>
                    <a:pt x="32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8" name="任意多边形: 形状 497">
              <a:extLst>
                <a:ext uri="{FF2B5EF4-FFF2-40B4-BE49-F238E27FC236}">
                  <a16:creationId xmlns:a16="http://schemas.microsoft.com/office/drawing/2014/main" id="{899D5C12-D384-42AF-A2C7-372C8003EDEF}"/>
                </a:ext>
              </a:extLst>
            </p:cNvPr>
            <p:cNvSpPr/>
            <p:nvPr/>
          </p:nvSpPr>
          <p:spPr bwMode="auto">
            <a:xfrm>
              <a:off x="6189061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9" name="任意多边形: 形状 498">
              <a:extLst>
                <a:ext uri="{FF2B5EF4-FFF2-40B4-BE49-F238E27FC236}">
                  <a16:creationId xmlns:a16="http://schemas.microsoft.com/office/drawing/2014/main" id="{94FA3040-5053-493F-A1C3-FE726B7BAAD4}"/>
                </a:ext>
              </a:extLst>
            </p:cNvPr>
            <p:cNvSpPr/>
            <p:nvPr/>
          </p:nvSpPr>
          <p:spPr bwMode="auto">
            <a:xfrm>
              <a:off x="6332555" y="2810191"/>
              <a:ext cx="120350" cy="80233"/>
            </a:xfrm>
            <a:custGeom>
              <a:avLst/>
              <a:gdLst>
                <a:gd name="T0" fmla="*/ 32 w 33"/>
                <a:gd name="T1" fmla="*/ 11 h 22"/>
                <a:gd name="T2" fmla="*/ 16 w 33"/>
                <a:gd name="T3" fmla="*/ 0 h 22"/>
                <a:gd name="T4" fmla="*/ 0 w 33"/>
                <a:gd name="T5" fmla="*/ 11 h 22"/>
                <a:gd name="T6" fmla="*/ 17 w 33"/>
                <a:gd name="T7" fmla="*/ 22 h 22"/>
                <a:gd name="T8" fmla="*/ 32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2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7"/>
                    <a:pt x="8" y="22"/>
                    <a:pt x="17" y="22"/>
                  </a:cubicBezTo>
                  <a:cubicBezTo>
                    <a:pt x="26" y="22"/>
                    <a:pt x="33" y="17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0" name="任意多边形: 形状 499">
              <a:extLst>
                <a:ext uri="{FF2B5EF4-FFF2-40B4-BE49-F238E27FC236}">
                  <a16:creationId xmlns:a16="http://schemas.microsoft.com/office/drawing/2014/main" id="{66C3132A-1E7F-4810-B9B2-B92E0C024B86}"/>
                </a:ext>
              </a:extLst>
            </p:cNvPr>
            <p:cNvSpPr/>
            <p:nvPr/>
          </p:nvSpPr>
          <p:spPr bwMode="auto">
            <a:xfrm>
              <a:off x="6474506" y="2810191"/>
              <a:ext cx="120350" cy="80233"/>
            </a:xfrm>
            <a:custGeom>
              <a:avLst/>
              <a:gdLst>
                <a:gd name="T0" fmla="*/ 33 w 33"/>
                <a:gd name="T1" fmla="*/ 11 h 22"/>
                <a:gd name="T2" fmla="*/ 16 w 33"/>
                <a:gd name="T3" fmla="*/ 0 h 22"/>
                <a:gd name="T4" fmla="*/ 1 w 33"/>
                <a:gd name="T5" fmla="*/ 11 h 22"/>
                <a:gd name="T6" fmla="*/ 18 w 33"/>
                <a:gd name="T7" fmla="*/ 22 h 22"/>
                <a:gd name="T8" fmla="*/ 33 w 33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2">
                  <a:moveTo>
                    <a:pt x="33" y="11"/>
                  </a:moveTo>
                  <a:cubicBezTo>
                    <a:pt x="32" y="5"/>
                    <a:pt x="24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7"/>
                    <a:pt x="9" y="22"/>
                    <a:pt x="18" y="22"/>
                  </a:cubicBezTo>
                  <a:cubicBezTo>
                    <a:pt x="27" y="22"/>
                    <a:pt x="33" y="17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1" name="任意多边形: 形状 500">
              <a:extLst>
                <a:ext uri="{FF2B5EF4-FFF2-40B4-BE49-F238E27FC236}">
                  <a16:creationId xmlns:a16="http://schemas.microsoft.com/office/drawing/2014/main" id="{3233E99A-E4BB-4862-8BB1-B5F9DB363AFF}"/>
                </a:ext>
              </a:extLst>
            </p:cNvPr>
            <p:cNvSpPr/>
            <p:nvPr/>
          </p:nvSpPr>
          <p:spPr bwMode="auto">
            <a:xfrm>
              <a:off x="4886814" y="2907397"/>
              <a:ext cx="123436" cy="84863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10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2" name="任意多边形: 形状 501">
              <a:extLst>
                <a:ext uri="{FF2B5EF4-FFF2-40B4-BE49-F238E27FC236}">
                  <a16:creationId xmlns:a16="http://schemas.microsoft.com/office/drawing/2014/main" id="{9888C180-95EC-4704-9296-A5EAF2F7A412}"/>
                </a:ext>
              </a:extLst>
            </p:cNvPr>
            <p:cNvSpPr/>
            <p:nvPr/>
          </p:nvSpPr>
          <p:spPr bwMode="auto">
            <a:xfrm>
              <a:off x="5033394" y="2907397"/>
              <a:ext cx="123436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3" name="任意多边形: 形状 502">
              <a:extLst>
                <a:ext uri="{FF2B5EF4-FFF2-40B4-BE49-F238E27FC236}">
                  <a16:creationId xmlns:a16="http://schemas.microsoft.com/office/drawing/2014/main" id="{1546C1F3-2D66-44D0-928E-CD2ADEB79322}"/>
                </a:ext>
              </a:extLst>
            </p:cNvPr>
            <p:cNvSpPr/>
            <p:nvPr/>
          </p:nvSpPr>
          <p:spPr bwMode="auto">
            <a:xfrm>
              <a:off x="5178431" y="2907397"/>
              <a:ext cx="124979" cy="84863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4" name="任意多边形: 形状 503">
              <a:extLst>
                <a:ext uri="{FF2B5EF4-FFF2-40B4-BE49-F238E27FC236}">
                  <a16:creationId xmlns:a16="http://schemas.microsoft.com/office/drawing/2014/main" id="{B76DD257-C138-43FE-A4D3-AD324AA41094}"/>
                </a:ext>
              </a:extLst>
            </p:cNvPr>
            <p:cNvSpPr/>
            <p:nvPr/>
          </p:nvSpPr>
          <p:spPr bwMode="auto">
            <a:xfrm>
              <a:off x="5325011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5" name="任意多边形: 形状 504">
              <a:extLst>
                <a:ext uri="{FF2B5EF4-FFF2-40B4-BE49-F238E27FC236}">
                  <a16:creationId xmlns:a16="http://schemas.microsoft.com/office/drawing/2014/main" id="{D2F49D1D-7668-4F99-BC1B-A60823668D6B}"/>
                </a:ext>
              </a:extLst>
            </p:cNvPr>
            <p:cNvSpPr/>
            <p:nvPr/>
          </p:nvSpPr>
          <p:spPr bwMode="auto">
            <a:xfrm>
              <a:off x="5470048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2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6" name="椭圆 505">
              <a:extLst>
                <a:ext uri="{FF2B5EF4-FFF2-40B4-BE49-F238E27FC236}">
                  <a16:creationId xmlns:a16="http://schemas.microsoft.com/office/drawing/2014/main" id="{2909685B-75B2-4387-8AD7-1C3DE43379E1}"/>
                </a:ext>
              </a:extLst>
            </p:cNvPr>
            <p:cNvSpPr/>
            <p:nvPr/>
          </p:nvSpPr>
          <p:spPr bwMode="auto">
            <a:xfrm>
              <a:off x="5616628" y="2907397"/>
              <a:ext cx="117264" cy="84863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7" name="任意多边形: 形状 506">
              <a:extLst>
                <a:ext uri="{FF2B5EF4-FFF2-40B4-BE49-F238E27FC236}">
                  <a16:creationId xmlns:a16="http://schemas.microsoft.com/office/drawing/2014/main" id="{50B26DDB-3D06-47BB-908B-2D109FDDC620}"/>
                </a:ext>
              </a:extLst>
            </p:cNvPr>
            <p:cNvSpPr/>
            <p:nvPr/>
          </p:nvSpPr>
          <p:spPr bwMode="auto">
            <a:xfrm>
              <a:off x="575857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1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8" name="任意多边形: 形状 507">
              <a:extLst>
                <a:ext uri="{FF2B5EF4-FFF2-40B4-BE49-F238E27FC236}">
                  <a16:creationId xmlns:a16="http://schemas.microsoft.com/office/drawing/2014/main" id="{AFE38FFE-49E2-4D43-B52B-B224C51EC77C}"/>
                </a:ext>
              </a:extLst>
            </p:cNvPr>
            <p:cNvSpPr/>
            <p:nvPr/>
          </p:nvSpPr>
          <p:spPr bwMode="auto">
            <a:xfrm>
              <a:off x="5905159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9" name="任意多边形: 形状 508">
              <a:extLst>
                <a:ext uri="{FF2B5EF4-FFF2-40B4-BE49-F238E27FC236}">
                  <a16:creationId xmlns:a16="http://schemas.microsoft.com/office/drawing/2014/main" id="{218397D6-FBCF-46BE-8B7B-CD679B582093}"/>
                </a:ext>
              </a:extLst>
            </p:cNvPr>
            <p:cNvSpPr/>
            <p:nvPr/>
          </p:nvSpPr>
          <p:spPr bwMode="auto">
            <a:xfrm>
              <a:off x="6050195" y="2907397"/>
              <a:ext cx="120350" cy="84863"/>
            </a:xfrm>
            <a:custGeom>
              <a:avLst/>
              <a:gdLst>
                <a:gd name="T0" fmla="*/ 32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2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2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2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0" name="任意多边形: 形状 509">
              <a:extLst>
                <a:ext uri="{FF2B5EF4-FFF2-40B4-BE49-F238E27FC236}">
                  <a16:creationId xmlns:a16="http://schemas.microsoft.com/office/drawing/2014/main" id="{63D0B63D-F014-404E-9A10-C5BBF69915DE}"/>
                </a:ext>
              </a:extLst>
            </p:cNvPr>
            <p:cNvSpPr/>
            <p:nvPr/>
          </p:nvSpPr>
          <p:spPr bwMode="auto">
            <a:xfrm>
              <a:off x="6193690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1 w 33"/>
                <a:gd name="T5" fmla="*/ 11 h 23"/>
                <a:gd name="T6" fmla="*/ 18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1" name="任意多边形: 形状 510">
              <a:extLst>
                <a:ext uri="{FF2B5EF4-FFF2-40B4-BE49-F238E27FC236}">
                  <a16:creationId xmlns:a16="http://schemas.microsoft.com/office/drawing/2014/main" id="{AE37A859-6A04-4AE3-952B-ADFB9FEA6C9E}"/>
                </a:ext>
              </a:extLst>
            </p:cNvPr>
            <p:cNvSpPr/>
            <p:nvPr/>
          </p:nvSpPr>
          <p:spPr bwMode="auto">
            <a:xfrm>
              <a:off x="6338727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2" name="任意多边形: 形状 511">
              <a:extLst>
                <a:ext uri="{FF2B5EF4-FFF2-40B4-BE49-F238E27FC236}">
                  <a16:creationId xmlns:a16="http://schemas.microsoft.com/office/drawing/2014/main" id="{1658E09E-A23B-4E6F-AA42-67E1F6D222C7}"/>
                </a:ext>
              </a:extLst>
            </p:cNvPr>
            <p:cNvSpPr/>
            <p:nvPr/>
          </p:nvSpPr>
          <p:spPr bwMode="auto">
            <a:xfrm>
              <a:off x="6485306" y="2907397"/>
              <a:ext cx="120350" cy="84863"/>
            </a:xfrm>
            <a:custGeom>
              <a:avLst/>
              <a:gdLst>
                <a:gd name="T0" fmla="*/ 33 w 33"/>
                <a:gd name="T1" fmla="*/ 11 h 23"/>
                <a:gd name="T2" fmla="*/ 15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4" y="0"/>
                    <a:pt x="15" y="0"/>
                  </a:cubicBezTo>
                  <a:cubicBezTo>
                    <a:pt x="6" y="0"/>
                    <a:pt x="0" y="5"/>
                    <a:pt x="0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3" name="任意多边形: 形状 512">
              <a:extLst>
                <a:ext uri="{FF2B5EF4-FFF2-40B4-BE49-F238E27FC236}">
                  <a16:creationId xmlns:a16="http://schemas.microsoft.com/office/drawing/2014/main" id="{58AEA705-E6FE-4B89-A44C-E0607A34B5C4}"/>
                </a:ext>
              </a:extLst>
            </p:cNvPr>
            <p:cNvSpPr/>
            <p:nvPr/>
          </p:nvSpPr>
          <p:spPr bwMode="auto">
            <a:xfrm>
              <a:off x="4876014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4" name="任意多边形: 形状 513">
              <a:extLst>
                <a:ext uri="{FF2B5EF4-FFF2-40B4-BE49-F238E27FC236}">
                  <a16:creationId xmlns:a16="http://schemas.microsoft.com/office/drawing/2014/main" id="{1FD6E90C-2FB1-486F-9146-CA7A6528CB47}"/>
                </a:ext>
              </a:extLst>
            </p:cNvPr>
            <p:cNvSpPr/>
            <p:nvPr/>
          </p:nvSpPr>
          <p:spPr bwMode="auto">
            <a:xfrm>
              <a:off x="5022593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9 w 34"/>
                <a:gd name="T3" fmla="*/ 0 h 23"/>
                <a:gd name="T4" fmla="*/ 1 w 34"/>
                <a:gd name="T5" fmla="*/ 11 h 23"/>
                <a:gd name="T6" fmla="*/ 16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8" y="0"/>
                    <a:pt x="19" y="0"/>
                  </a:cubicBezTo>
                  <a:cubicBezTo>
                    <a:pt x="9" y="0"/>
                    <a:pt x="2" y="5"/>
                    <a:pt x="1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5" name="任意多边形: 形状 514">
              <a:extLst>
                <a:ext uri="{FF2B5EF4-FFF2-40B4-BE49-F238E27FC236}">
                  <a16:creationId xmlns:a16="http://schemas.microsoft.com/office/drawing/2014/main" id="{9032949D-3129-4E18-8BB2-7F75AFE8F91A}"/>
                </a:ext>
              </a:extLst>
            </p:cNvPr>
            <p:cNvSpPr/>
            <p:nvPr/>
          </p:nvSpPr>
          <p:spPr bwMode="auto">
            <a:xfrm>
              <a:off x="5170716" y="3010774"/>
              <a:ext cx="124979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6" name="任意多边形: 形状 515">
              <a:extLst>
                <a:ext uri="{FF2B5EF4-FFF2-40B4-BE49-F238E27FC236}">
                  <a16:creationId xmlns:a16="http://schemas.microsoft.com/office/drawing/2014/main" id="{4321AA28-CE9E-43BB-A483-8025692EB960}"/>
                </a:ext>
              </a:extLst>
            </p:cNvPr>
            <p:cNvSpPr/>
            <p:nvPr/>
          </p:nvSpPr>
          <p:spPr bwMode="auto">
            <a:xfrm>
              <a:off x="5317296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8 w 34"/>
                <a:gd name="T3" fmla="*/ 0 h 23"/>
                <a:gd name="T4" fmla="*/ 0 w 34"/>
                <a:gd name="T5" fmla="*/ 11 h 23"/>
                <a:gd name="T6" fmla="*/ 16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7" name="任意多边形: 形状 516">
              <a:extLst>
                <a:ext uri="{FF2B5EF4-FFF2-40B4-BE49-F238E27FC236}">
                  <a16:creationId xmlns:a16="http://schemas.microsoft.com/office/drawing/2014/main" id="{F3287876-4CEE-40B7-A2C9-735C6290A56D}"/>
                </a:ext>
              </a:extLst>
            </p:cNvPr>
            <p:cNvSpPr/>
            <p:nvPr/>
          </p:nvSpPr>
          <p:spPr bwMode="auto">
            <a:xfrm>
              <a:off x="5463876" y="3010774"/>
              <a:ext cx="123436" cy="83319"/>
            </a:xfrm>
            <a:custGeom>
              <a:avLst/>
              <a:gdLst>
                <a:gd name="T0" fmla="*/ 34 w 34"/>
                <a:gd name="T1" fmla="*/ 11 h 23"/>
                <a:gd name="T2" fmla="*/ 18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4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11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1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8" name="任意多边形: 形状 517">
              <a:extLst>
                <a:ext uri="{FF2B5EF4-FFF2-40B4-BE49-F238E27FC236}">
                  <a16:creationId xmlns:a16="http://schemas.microsoft.com/office/drawing/2014/main" id="{45B2468B-E639-4E68-A321-6C7B853B8116}"/>
                </a:ext>
              </a:extLst>
            </p:cNvPr>
            <p:cNvSpPr/>
            <p:nvPr/>
          </p:nvSpPr>
          <p:spPr bwMode="auto">
            <a:xfrm>
              <a:off x="561354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7 w 33"/>
                <a:gd name="T3" fmla="*/ 0 h 23"/>
                <a:gd name="T4" fmla="*/ 0 w 33"/>
                <a:gd name="T5" fmla="*/ 11 h 23"/>
                <a:gd name="T6" fmla="*/ 16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0" y="11"/>
                  </a:cubicBezTo>
                  <a:cubicBezTo>
                    <a:pt x="0" y="18"/>
                    <a:pt x="7" y="23"/>
                    <a:pt x="16" y="23"/>
                  </a:cubicBezTo>
                  <a:cubicBezTo>
                    <a:pt x="25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9" name="椭圆 518">
              <a:extLst>
                <a:ext uri="{FF2B5EF4-FFF2-40B4-BE49-F238E27FC236}">
                  <a16:creationId xmlns:a16="http://schemas.microsoft.com/office/drawing/2014/main" id="{46815761-9F1A-4C5B-A8C4-97C34FC85D90}"/>
                </a:ext>
              </a:extLst>
            </p:cNvPr>
            <p:cNvSpPr/>
            <p:nvPr/>
          </p:nvSpPr>
          <p:spPr bwMode="auto">
            <a:xfrm>
              <a:off x="5758579" y="3010774"/>
              <a:ext cx="120350" cy="83319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0" name="任意多边形: 形状 519">
              <a:extLst>
                <a:ext uri="{FF2B5EF4-FFF2-40B4-BE49-F238E27FC236}">
                  <a16:creationId xmlns:a16="http://schemas.microsoft.com/office/drawing/2014/main" id="{593E7F46-5624-4D09-9FD1-682E0C505034}"/>
                </a:ext>
              </a:extLst>
            </p:cNvPr>
            <p:cNvSpPr/>
            <p:nvPr/>
          </p:nvSpPr>
          <p:spPr bwMode="auto">
            <a:xfrm>
              <a:off x="5905159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7 w 34"/>
                <a:gd name="T3" fmla="*/ 0 h 23"/>
                <a:gd name="T4" fmla="*/ 1 w 34"/>
                <a:gd name="T5" fmla="*/ 11 h 23"/>
                <a:gd name="T6" fmla="*/ 17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8" y="0"/>
                    <a:pt x="0" y="5"/>
                    <a:pt x="1" y="11"/>
                  </a:cubicBezTo>
                  <a:cubicBezTo>
                    <a:pt x="1" y="18"/>
                    <a:pt x="8" y="23"/>
                    <a:pt x="17" y="23"/>
                  </a:cubicBezTo>
                  <a:cubicBezTo>
                    <a:pt x="26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1" name="任意多边形: 形状 520">
              <a:extLst>
                <a:ext uri="{FF2B5EF4-FFF2-40B4-BE49-F238E27FC236}">
                  <a16:creationId xmlns:a16="http://schemas.microsoft.com/office/drawing/2014/main" id="{049F1A47-1145-4575-ABFB-CE44ECF3E23D}"/>
                </a:ext>
              </a:extLst>
            </p:cNvPr>
            <p:cNvSpPr/>
            <p:nvPr/>
          </p:nvSpPr>
          <p:spPr bwMode="auto">
            <a:xfrm>
              <a:off x="6054825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2" name="任意多边形: 形状 521">
              <a:extLst>
                <a:ext uri="{FF2B5EF4-FFF2-40B4-BE49-F238E27FC236}">
                  <a16:creationId xmlns:a16="http://schemas.microsoft.com/office/drawing/2014/main" id="{C9666A32-BE56-454E-A735-E73516A1D45A}"/>
                </a:ext>
              </a:extLst>
            </p:cNvPr>
            <p:cNvSpPr/>
            <p:nvPr/>
          </p:nvSpPr>
          <p:spPr bwMode="auto">
            <a:xfrm>
              <a:off x="6199862" y="3010774"/>
              <a:ext cx="120350" cy="83319"/>
            </a:xfrm>
            <a:custGeom>
              <a:avLst/>
              <a:gdLst>
                <a:gd name="T0" fmla="*/ 33 w 33"/>
                <a:gd name="T1" fmla="*/ 11 h 23"/>
                <a:gd name="T2" fmla="*/ 16 w 33"/>
                <a:gd name="T3" fmla="*/ 0 h 23"/>
                <a:gd name="T4" fmla="*/ 0 w 33"/>
                <a:gd name="T5" fmla="*/ 11 h 23"/>
                <a:gd name="T6" fmla="*/ 17 w 33"/>
                <a:gd name="T7" fmla="*/ 23 h 23"/>
                <a:gd name="T8" fmla="*/ 33 w 33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3">
                  <a:moveTo>
                    <a:pt x="33" y="11"/>
                  </a:moveTo>
                  <a:cubicBezTo>
                    <a:pt x="32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0" y="18"/>
                    <a:pt x="8" y="23"/>
                    <a:pt x="17" y="23"/>
                  </a:cubicBezTo>
                  <a:cubicBezTo>
                    <a:pt x="26" y="23"/>
                    <a:pt x="33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3" name="任意多边形: 形状 522">
              <a:extLst>
                <a:ext uri="{FF2B5EF4-FFF2-40B4-BE49-F238E27FC236}">
                  <a16:creationId xmlns:a16="http://schemas.microsoft.com/office/drawing/2014/main" id="{B7D3D38B-B0A6-4BC4-AC1F-81162F698F98}"/>
                </a:ext>
              </a:extLst>
            </p:cNvPr>
            <p:cNvSpPr/>
            <p:nvPr/>
          </p:nvSpPr>
          <p:spPr bwMode="auto">
            <a:xfrm>
              <a:off x="6346441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0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4" name="任意多边形: 形状 523">
              <a:extLst>
                <a:ext uri="{FF2B5EF4-FFF2-40B4-BE49-F238E27FC236}">
                  <a16:creationId xmlns:a16="http://schemas.microsoft.com/office/drawing/2014/main" id="{3DEFA10E-218E-404A-AC3E-E8AC7F9AB439}"/>
                </a:ext>
              </a:extLst>
            </p:cNvPr>
            <p:cNvSpPr/>
            <p:nvPr/>
          </p:nvSpPr>
          <p:spPr bwMode="auto">
            <a:xfrm>
              <a:off x="6493022" y="3010774"/>
              <a:ext cx="123436" cy="83319"/>
            </a:xfrm>
            <a:custGeom>
              <a:avLst/>
              <a:gdLst>
                <a:gd name="T0" fmla="*/ 33 w 34"/>
                <a:gd name="T1" fmla="*/ 11 h 23"/>
                <a:gd name="T2" fmla="*/ 16 w 34"/>
                <a:gd name="T3" fmla="*/ 0 h 23"/>
                <a:gd name="T4" fmla="*/ 1 w 34"/>
                <a:gd name="T5" fmla="*/ 11 h 23"/>
                <a:gd name="T6" fmla="*/ 18 w 34"/>
                <a:gd name="T7" fmla="*/ 23 h 23"/>
                <a:gd name="T8" fmla="*/ 33 w 34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3" y="11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1"/>
                  </a:cubicBezTo>
                  <a:cubicBezTo>
                    <a:pt x="1" y="18"/>
                    <a:pt x="9" y="23"/>
                    <a:pt x="18" y="23"/>
                  </a:cubicBezTo>
                  <a:cubicBezTo>
                    <a:pt x="27" y="23"/>
                    <a:pt x="34" y="18"/>
                    <a:pt x="33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5" name="任意多边形: 形状 524">
              <a:extLst>
                <a:ext uri="{FF2B5EF4-FFF2-40B4-BE49-F238E27FC236}">
                  <a16:creationId xmlns:a16="http://schemas.microsoft.com/office/drawing/2014/main" id="{5D7BB125-4E9E-4CED-BD51-A151146094FB}"/>
                </a:ext>
              </a:extLst>
            </p:cNvPr>
            <p:cNvSpPr/>
            <p:nvPr/>
          </p:nvSpPr>
          <p:spPr bwMode="auto">
            <a:xfrm>
              <a:off x="4860584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6" name="任意多边形: 形状 525">
              <a:extLst>
                <a:ext uri="{FF2B5EF4-FFF2-40B4-BE49-F238E27FC236}">
                  <a16:creationId xmlns:a16="http://schemas.microsoft.com/office/drawing/2014/main" id="{62569932-02F0-4AE0-8F94-6B2995C9089D}"/>
                </a:ext>
              </a:extLst>
            </p:cNvPr>
            <p:cNvSpPr/>
            <p:nvPr/>
          </p:nvSpPr>
          <p:spPr bwMode="auto">
            <a:xfrm>
              <a:off x="5010250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6"/>
                    <a:pt x="28" y="0"/>
                    <a:pt x="19" y="0"/>
                  </a:cubicBezTo>
                  <a:cubicBezTo>
                    <a:pt x="10" y="0"/>
                    <a:pt x="2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7" name="任意多边形: 形状 526">
              <a:extLst>
                <a:ext uri="{FF2B5EF4-FFF2-40B4-BE49-F238E27FC236}">
                  <a16:creationId xmlns:a16="http://schemas.microsoft.com/office/drawing/2014/main" id="{32023E0F-CA42-41C6-8757-2FFC52B583CE}"/>
                </a:ext>
              </a:extLst>
            </p:cNvPr>
            <p:cNvSpPr/>
            <p:nvPr/>
          </p:nvSpPr>
          <p:spPr bwMode="auto">
            <a:xfrm>
              <a:off x="5159916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8" name="任意多边形: 形状 527">
              <a:extLst>
                <a:ext uri="{FF2B5EF4-FFF2-40B4-BE49-F238E27FC236}">
                  <a16:creationId xmlns:a16="http://schemas.microsoft.com/office/drawing/2014/main" id="{DEA760E3-ED7C-4F48-AD30-8E9CEA095859}"/>
                </a:ext>
              </a:extLst>
            </p:cNvPr>
            <p:cNvSpPr/>
            <p:nvPr/>
          </p:nvSpPr>
          <p:spPr bwMode="auto">
            <a:xfrm>
              <a:off x="5309581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1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8" y="0"/>
                  </a:cubicBezTo>
                  <a:cubicBezTo>
                    <a:pt x="9" y="0"/>
                    <a:pt x="1" y="6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9" name="任意多边形: 形状 528">
              <a:extLst>
                <a:ext uri="{FF2B5EF4-FFF2-40B4-BE49-F238E27FC236}">
                  <a16:creationId xmlns:a16="http://schemas.microsoft.com/office/drawing/2014/main" id="{9F6D25EB-8118-49C3-89E8-7E77AC93BED8}"/>
                </a:ext>
              </a:extLst>
            </p:cNvPr>
            <p:cNvSpPr/>
            <p:nvPr/>
          </p:nvSpPr>
          <p:spPr bwMode="auto">
            <a:xfrm>
              <a:off x="5459247" y="3112609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7" y="0"/>
                    <a:pt x="17" y="0"/>
                  </a:cubicBezTo>
                  <a:cubicBezTo>
                    <a:pt x="8" y="0"/>
                    <a:pt x="1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0" name="任意多边形: 形状 529">
              <a:extLst>
                <a:ext uri="{FF2B5EF4-FFF2-40B4-BE49-F238E27FC236}">
                  <a16:creationId xmlns:a16="http://schemas.microsoft.com/office/drawing/2014/main" id="{FEFA27D4-BF88-47E8-B4DE-D3DCC8FAE1C7}"/>
                </a:ext>
              </a:extLst>
            </p:cNvPr>
            <p:cNvSpPr/>
            <p:nvPr/>
          </p:nvSpPr>
          <p:spPr bwMode="auto">
            <a:xfrm>
              <a:off x="5608913" y="3112609"/>
              <a:ext cx="124979" cy="87948"/>
            </a:xfrm>
            <a:custGeom>
              <a:avLst/>
              <a:gdLst>
                <a:gd name="T0" fmla="*/ 33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1" name="任意多边形: 形状 530">
              <a:extLst>
                <a:ext uri="{FF2B5EF4-FFF2-40B4-BE49-F238E27FC236}">
                  <a16:creationId xmlns:a16="http://schemas.microsoft.com/office/drawing/2014/main" id="{6CA3203D-88FE-405F-8051-2D368065D256}"/>
                </a:ext>
              </a:extLst>
            </p:cNvPr>
            <p:cNvSpPr/>
            <p:nvPr/>
          </p:nvSpPr>
          <p:spPr bwMode="auto">
            <a:xfrm>
              <a:off x="5758579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7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6" y="0"/>
                    <a:pt x="17" y="0"/>
                  </a:cubicBezTo>
                  <a:cubicBezTo>
                    <a:pt x="8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2" name="任意多边形: 形状 531">
              <a:extLst>
                <a:ext uri="{FF2B5EF4-FFF2-40B4-BE49-F238E27FC236}">
                  <a16:creationId xmlns:a16="http://schemas.microsoft.com/office/drawing/2014/main" id="{3BAFB839-1560-4FDD-9C53-FEC208586804}"/>
                </a:ext>
              </a:extLst>
            </p:cNvPr>
            <p:cNvSpPr/>
            <p:nvPr/>
          </p:nvSpPr>
          <p:spPr bwMode="auto">
            <a:xfrm>
              <a:off x="5908244" y="3112609"/>
              <a:ext cx="120350" cy="87948"/>
            </a:xfrm>
            <a:custGeom>
              <a:avLst/>
              <a:gdLst>
                <a:gd name="T0" fmla="*/ 33 w 33"/>
                <a:gd name="T1" fmla="*/ 12 h 24"/>
                <a:gd name="T2" fmla="*/ 16 w 33"/>
                <a:gd name="T3" fmla="*/ 0 h 24"/>
                <a:gd name="T4" fmla="*/ 0 w 33"/>
                <a:gd name="T5" fmla="*/ 12 h 24"/>
                <a:gd name="T6" fmla="*/ 17 w 33"/>
                <a:gd name="T7" fmla="*/ 24 h 24"/>
                <a:gd name="T8" fmla="*/ 33 w 33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3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3" name="任意多边形: 形状 532">
              <a:extLst>
                <a:ext uri="{FF2B5EF4-FFF2-40B4-BE49-F238E27FC236}">
                  <a16:creationId xmlns:a16="http://schemas.microsoft.com/office/drawing/2014/main" id="{53FA6589-952D-48B7-9E66-F9FEEF232A1D}"/>
                </a:ext>
              </a:extLst>
            </p:cNvPr>
            <p:cNvSpPr/>
            <p:nvPr/>
          </p:nvSpPr>
          <p:spPr bwMode="auto">
            <a:xfrm>
              <a:off x="6054825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1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6"/>
                    <a:pt x="26" y="0"/>
                    <a:pt x="17" y="0"/>
                  </a:cubicBezTo>
                  <a:cubicBezTo>
                    <a:pt x="8" y="0"/>
                    <a:pt x="0" y="6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4" name="任意多边形: 形状 533">
              <a:extLst>
                <a:ext uri="{FF2B5EF4-FFF2-40B4-BE49-F238E27FC236}">
                  <a16:creationId xmlns:a16="http://schemas.microsoft.com/office/drawing/2014/main" id="{E76E0A47-9AD2-401E-89E1-8E567C2C3445}"/>
                </a:ext>
              </a:extLst>
            </p:cNvPr>
            <p:cNvSpPr/>
            <p:nvPr/>
          </p:nvSpPr>
          <p:spPr bwMode="auto">
            <a:xfrm>
              <a:off x="6204490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6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5" name="任意多边形: 形状 534">
              <a:extLst>
                <a:ext uri="{FF2B5EF4-FFF2-40B4-BE49-F238E27FC236}">
                  <a16:creationId xmlns:a16="http://schemas.microsoft.com/office/drawing/2014/main" id="{6EBFC877-FB28-4FC5-80C7-745769207AC4}"/>
                </a:ext>
              </a:extLst>
            </p:cNvPr>
            <p:cNvSpPr/>
            <p:nvPr/>
          </p:nvSpPr>
          <p:spPr bwMode="auto">
            <a:xfrm>
              <a:off x="6354156" y="3112609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6" name="任意多边形: 形状 535">
              <a:extLst>
                <a:ext uri="{FF2B5EF4-FFF2-40B4-BE49-F238E27FC236}">
                  <a16:creationId xmlns:a16="http://schemas.microsoft.com/office/drawing/2014/main" id="{EA4A5186-F732-473B-B7D8-8FB41339AD64}"/>
                </a:ext>
              </a:extLst>
            </p:cNvPr>
            <p:cNvSpPr/>
            <p:nvPr/>
          </p:nvSpPr>
          <p:spPr bwMode="auto">
            <a:xfrm>
              <a:off x="6503822" y="3112609"/>
              <a:ext cx="123436" cy="87948"/>
            </a:xfrm>
            <a:custGeom>
              <a:avLst/>
              <a:gdLst>
                <a:gd name="T0" fmla="*/ 33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3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3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4" y="19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7" name="任意多边形: 形状 536">
              <a:extLst>
                <a:ext uri="{FF2B5EF4-FFF2-40B4-BE49-F238E27FC236}">
                  <a16:creationId xmlns:a16="http://schemas.microsoft.com/office/drawing/2014/main" id="{899431AB-8A0B-460E-A252-A0802C28FEB1}"/>
                </a:ext>
              </a:extLst>
            </p:cNvPr>
            <p:cNvSpPr/>
            <p:nvPr/>
          </p:nvSpPr>
          <p:spPr bwMode="auto">
            <a:xfrm>
              <a:off x="6648859" y="3112609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6"/>
                    <a:pt x="25" y="0"/>
                    <a:pt x="16" y="0"/>
                  </a:cubicBezTo>
                  <a:cubicBezTo>
                    <a:pt x="7" y="0"/>
                    <a:pt x="0" y="6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8" name="任意多边形: 形状 537">
              <a:extLst>
                <a:ext uri="{FF2B5EF4-FFF2-40B4-BE49-F238E27FC236}">
                  <a16:creationId xmlns:a16="http://schemas.microsoft.com/office/drawing/2014/main" id="{3F63460F-1DF2-42E3-A869-78A3FDF5D5DF}"/>
                </a:ext>
              </a:extLst>
            </p:cNvPr>
            <p:cNvSpPr/>
            <p:nvPr/>
          </p:nvSpPr>
          <p:spPr bwMode="auto">
            <a:xfrm>
              <a:off x="4846697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20 w 36"/>
                <a:gd name="T3" fmla="*/ 0 h 24"/>
                <a:gd name="T4" fmla="*/ 1 w 36"/>
                <a:gd name="T5" fmla="*/ 12 h 24"/>
                <a:gd name="T6" fmla="*/ 17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6" y="5"/>
                    <a:pt x="29" y="0"/>
                    <a:pt x="20" y="0"/>
                  </a:cubicBezTo>
                  <a:cubicBezTo>
                    <a:pt x="10" y="0"/>
                    <a:pt x="2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9" name="任意多边形: 形状 538">
              <a:extLst>
                <a:ext uri="{FF2B5EF4-FFF2-40B4-BE49-F238E27FC236}">
                  <a16:creationId xmlns:a16="http://schemas.microsoft.com/office/drawing/2014/main" id="{523E8D31-F8C7-47A9-A102-9A50B7F6C749}"/>
                </a:ext>
              </a:extLst>
            </p:cNvPr>
            <p:cNvSpPr/>
            <p:nvPr/>
          </p:nvSpPr>
          <p:spPr bwMode="auto">
            <a:xfrm>
              <a:off x="4999449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9 w 35"/>
                <a:gd name="T3" fmla="*/ 0 h 24"/>
                <a:gd name="T4" fmla="*/ 1 w 35"/>
                <a:gd name="T5" fmla="*/ 12 h 24"/>
                <a:gd name="T6" fmla="*/ 16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10" y="0"/>
                    <a:pt x="1" y="5"/>
                    <a:pt x="1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0" name="任意多边形: 形状 539">
              <a:extLst>
                <a:ext uri="{FF2B5EF4-FFF2-40B4-BE49-F238E27FC236}">
                  <a16:creationId xmlns:a16="http://schemas.microsoft.com/office/drawing/2014/main" id="{F604B5C4-A672-4BAD-A88D-24A3E8EE9890}"/>
                </a:ext>
              </a:extLst>
            </p:cNvPr>
            <p:cNvSpPr/>
            <p:nvPr/>
          </p:nvSpPr>
          <p:spPr bwMode="auto">
            <a:xfrm>
              <a:off x="5153744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8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5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1" name="任意多边形: 形状 540">
              <a:extLst>
                <a:ext uri="{FF2B5EF4-FFF2-40B4-BE49-F238E27FC236}">
                  <a16:creationId xmlns:a16="http://schemas.microsoft.com/office/drawing/2014/main" id="{B53736B0-92F3-4580-A0BC-CF050DC6B2FC}"/>
                </a:ext>
              </a:extLst>
            </p:cNvPr>
            <p:cNvSpPr/>
            <p:nvPr/>
          </p:nvSpPr>
          <p:spPr bwMode="auto">
            <a:xfrm>
              <a:off x="5303409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8 w 35"/>
                <a:gd name="T3" fmla="*/ 0 h 24"/>
                <a:gd name="T4" fmla="*/ 1 w 35"/>
                <a:gd name="T5" fmla="*/ 12 h 24"/>
                <a:gd name="T6" fmla="*/ 17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9" y="0"/>
                    <a:pt x="1" y="5"/>
                    <a:pt x="1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2" name="任意多边形: 形状 541">
              <a:extLst>
                <a:ext uri="{FF2B5EF4-FFF2-40B4-BE49-F238E27FC236}">
                  <a16:creationId xmlns:a16="http://schemas.microsoft.com/office/drawing/2014/main" id="{1D32C3A8-6510-4372-901D-9CF2B3CF901B}"/>
                </a:ext>
              </a:extLst>
            </p:cNvPr>
            <p:cNvSpPr/>
            <p:nvPr/>
          </p:nvSpPr>
          <p:spPr bwMode="auto">
            <a:xfrm>
              <a:off x="5456162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6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7" y="24"/>
                    <a:pt x="16" y="24"/>
                  </a:cubicBezTo>
                  <a:cubicBezTo>
                    <a:pt x="26" y="24"/>
                    <a:pt x="33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3" name="任意多边形: 形状 542">
              <a:extLst>
                <a:ext uri="{FF2B5EF4-FFF2-40B4-BE49-F238E27FC236}">
                  <a16:creationId xmlns:a16="http://schemas.microsoft.com/office/drawing/2014/main" id="{579CDDAB-DFE9-4792-B460-1B7037BADC27}"/>
                </a:ext>
              </a:extLst>
            </p:cNvPr>
            <p:cNvSpPr/>
            <p:nvPr/>
          </p:nvSpPr>
          <p:spPr bwMode="auto">
            <a:xfrm>
              <a:off x="5605827" y="3222158"/>
              <a:ext cx="123436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4" name="任意多边形: 形状 543">
              <a:extLst>
                <a:ext uri="{FF2B5EF4-FFF2-40B4-BE49-F238E27FC236}">
                  <a16:creationId xmlns:a16="http://schemas.microsoft.com/office/drawing/2014/main" id="{A20BBEEE-03BB-4D56-8770-609A2EB13943}"/>
                </a:ext>
              </a:extLst>
            </p:cNvPr>
            <p:cNvSpPr/>
            <p:nvPr/>
          </p:nvSpPr>
          <p:spPr bwMode="auto">
            <a:xfrm>
              <a:off x="5758579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7" y="24"/>
                    <a:pt x="17" y="24"/>
                  </a:cubicBezTo>
                  <a:cubicBezTo>
                    <a:pt x="26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5" name="任意多边形: 形状 544">
              <a:extLst>
                <a:ext uri="{FF2B5EF4-FFF2-40B4-BE49-F238E27FC236}">
                  <a16:creationId xmlns:a16="http://schemas.microsoft.com/office/drawing/2014/main" id="{656E3485-5763-4F5E-B35A-6040F2E358A7}"/>
                </a:ext>
              </a:extLst>
            </p:cNvPr>
            <p:cNvSpPr/>
            <p:nvPr/>
          </p:nvSpPr>
          <p:spPr bwMode="auto">
            <a:xfrm>
              <a:off x="5908244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7 w 34"/>
                <a:gd name="T3" fmla="*/ 0 h 24"/>
                <a:gd name="T4" fmla="*/ 0 w 34"/>
                <a:gd name="T5" fmla="*/ 12 h 24"/>
                <a:gd name="T6" fmla="*/ 17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0" y="19"/>
                    <a:pt x="8" y="24"/>
                    <a:pt x="17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6" name="任意多边形: 形状 545">
              <a:extLst>
                <a:ext uri="{FF2B5EF4-FFF2-40B4-BE49-F238E27FC236}">
                  <a16:creationId xmlns:a16="http://schemas.microsoft.com/office/drawing/2014/main" id="{2963FA89-15D2-48D9-8B23-C45B83EE1EF0}"/>
                </a:ext>
              </a:extLst>
            </p:cNvPr>
            <p:cNvSpPr/>
            <p:nvPr/>
          </p:nvSpPr>
          <p:spPr bwMode="auto">
            <a:xfrm>
              <a:off x="6057911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7 w 35"/>
                <a:gd name="T3" fmla="*/ 0 h 24"/>
                <a:gd name="T4" fmla="*/ 1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8" y="0"/>
                    <a:pt x="0" y="5"/>
                    <a:pt x="1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7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7" name="任意多边形: 形状 546">
              <a:extLst>
                <a:ext uri="{FF2B5EF4-FFF2-40B4-BE49-F238E27FC236}">
                  <a16:creationId xmlns:a16="http://schemas.microsoft.com/office/drawing/2014/main" id="{9A7F221A-C6BB-4348-AF7A-808148AEC23F}"/>
                </a:ext>
              </a:extLst>
            </p:cNvPr>
            <p:cNvSpPr/>
            <p:nvPr/>
          </p:nvSpPr>
          <p:spPr bwMode="auto">
            <a:xfrm>
              <a:off x="6210662" y="3222158"/>
              <a:ext cx="124979" cy="87948"/>
            </a:xfrm>
            <a:custGeom>
              <a:avLst/>
              <a:gdLst>
                <a:gd name="T0" fmla="*/ 34 w 34"/>
                <a:gd name="T1" fmla="*/ 12 h 24"/>
                <a:gd name="T2" fmla="*/ 16 w 34"/>
                <a:gd name="T3" fmla="*/ 0 h 24"/>
                <a:gd name="T4" fmla="*/ 0 w 34"/>
                <a:gd name="T5" fmla="*/ 12 h 24"/>
                <a:gd name="T6" fmla="*/ 18 w 34"/>
                <a:gd name="T7" fmla="*/ 24 h 24"/>
                <a:gd name="T8" fmla="*/ 34 w 34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19"/>
                    <a:pt x="8" y="24"/>
                    <a:pt x="18" y="24"/>
                  </a:cubicBezTo>
                  <a:cubicBezTo>
                    <a:pt x="27" y="24"/>
                    <a:pt x="34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8" name="任意多边形: 形状 547">
              <a:extLst>
                <a:ext uri="{FF2B5EF4-FFF2-40B4-BE49-F238E27FC236}">
                  <a16:creationId xmlns:a16="http://schemas.microsoft.com/office/drawing/2014/main" id="{6E0810E8-751E-41BD-9CFC-194A7B274987}"/>
                </a:ext>
              </a:extLst>
            </p:cNvPr>
            <p:cNvSpPr/>
            <p:nvPr/>
          </p:nvSpPr>
          <p:spPr bwMode="auto">
            <a:xfrm>
              <a:off x="6360328" y="3222158"/>
              <a:ext cx="128065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0 w 35"/>
                <a:gd name="T5" fmla="*/ 12 h 24"/>
                <a:gd name="T6" fmla="*/ 18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4"/>
                    <a:pt x="18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9" name="任意多边形: 形状 548">
              <a:extLst>
                <a:ext uri="{FF2B5EF4-FFF2-40B4-BE49-F238E27FC236}">
                  <a16:creationId xmlns:a16="http://schemas.microsoft.com/office/drawing/2014/main" id="{8701BE4A-AF80-4B80-A498-964608015959}"/>
                </a:ext>
              </a:extLst>
            </p:cNvPr>
            <p:cNvSpPr/>
            <p:nvPr/>
          </p:nvSpPr>
          <p:spPr bwMode="auto">
            <a:xfrm>
              <a:off x="6509994" y="3222158"/>
              <a:ext cx="128065" cy="87948"/>
            </a:xfrm>
            <a:custGeom>
              <a:avLst/>
              <a:gdLst>
                <a:gd name="T0" fmla="*/ 35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5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9" y="24"/>
                    <a:pt x="19" y="24"/>
                  </a:cubicBezTo>
                  <a:cubicBezTo>
                    <a:pt x="28" y="24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0" name="任意多边形: 形状 549">
              <a:extLst>
                <a:ext uri="{FF2B5EF4-FFF2-40B4-BE49-F238E27FC236}">
                  <a16:creationId xmlns:a16="http://schemas.microsoft.com/office/drawing/2014/main" id="{3C9049B0-70E1-47E4-B39D-3EFB6E1D220E}"/>
                </a:ext>
              </a:extLst>
            </p:cNvPr>
            <p:cNvSpPr/>
            <p:nvPr/>
          </p:nvSpPr>
          <p:spPr bwMode="auto">
            <a:xfrm>
              <a:off x="6659660" y="3222158"/>
              <a:ext cx="131151" cy="87948"/>
            </a:xfrm>
            <a:custGeom>
              <a:avLst/>
              <a:gdLst>
                <a:gd name="T0" fmla="*/ 35 w 36"/>
                <a:gd name="T1" fmla="*/ 12 h 24"/>
                <a:gd name="T2" fmla="*/ 17 w 36"/>
                <a:gd name="T3" fmla="*/ 0 h 24"/>
                <a:gd name="T4" fmla="*/ 1 w 36"/>
                <a:gd name="T5" fmla="*/ 12 h 24"/>
                <a:gd name="T6" fmla="*/ 19 w 36"/>
                <a:gd name="T7" fmla="*/ 24 h 24"/>
                <a:gd name="T8" fmla="*/ 35 w 36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4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0" y="24"/>
                    <a:pt x="19" y="24"/>
                  </a:cubicBezTo>
                  <a:cubicBezTo>
                    <a:pt x="29" y="24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1" name="任意多边形: 形状 550">
              <a:extLst>
                <a:ext uri="{FF2B5EF4-FFF2-40B4-BE49-F238E27FC236}">
                  <a16:creationId xmlns:a16="http://schemas.microsoft.com/office/drawing/2014/main" id="{4387B2A9-E152-4104-B61F-BDD5A4ED3563}"/>
                </a:ext>
              </a:extLst>
            </p:cNvPr>
            <p:cNvSpPr/>
            <p:nvPr/>
          </p:nvSpPr>
          <p:spPr bwMode="auto">
            <a:xfrm>
              <a:off x="6813955" y="3222158"/>
              <a:ext cx="126522" cy="87948"/>
            </a:xfrm>
            <a:custGeom>
              <a:avLst/>
              <a:gdLst>
                <a:gd name="T0" fmla="*/ 34 w 35"/>
                <a:gd name="T1" fmla="*/ 12 h 24"/>
                <a:gd name="T2" fmla="*/ 16 w 35"/>
                <a:gd name="T3" fmla="*/ 0 h 24"/>
                <a:gd name="T4" fmla="*/ 1 w 35"/>
                <a:gd name="T5" fmla="*/ 12 h 24"/>
                <a:gd name="T6" fmla="*/ 19 w 35"/>
                <a:gd name="T7" fmla="*/ 24 h 24"/>
                <a:gd name="T8" fmla="*/ 34 w 35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4">
                  <a:moveTo>
                    <a:pt x="34" y="12"/>
                  </a:moveTo>
                  <a:cubicBezTo>
                    <a:pt x="33" y="5"/>
                    <a:pt x="25" y="0"/>
                    <a:pt x="16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19"/>
                    <a:pt x="10" y="24"/>
                    <a:pt x="19" y="24"/>
                  </a:cubicBezTo>
                  <a:cubicBezTo>
                    <a:pt x="28" y="24"/>
                    <a:pt x="35" y="19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2" name="任意多边形: 形状 551">
              <a:extLst>
                <a:ext uri="{FF2B5EF4-FFF2-40B4-BE49-F238E27FC236}">
                  <a16:creationId xmlns:a16="http://schemas.microsoft.com/office/drawing/2014/main" id="{357315A2-470B-4C2C-A288-68FF3C6CF031}"/>
                </a:ext>
              </a:extLst>
            </p:cNvPr>
            <p:cNvSpPr/>
            <p:nvPr/>
          </p:nvSpPr>
          <p:spPr bwMode="auto">
            <a:xfrm>
              <a:off x="4988648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6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6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3" name="任意多边形: 形状 552">
              <a:extLst>
                <a:ext uri="{FF2B5EF4-FFF2-40B4-BE49-F238E27FC236}">
                  <a16:creationId xmlns:a16="http://schemas.microsoft.com/office/drawing/2014/main" id="{A2C8A7F0-D9B5-4B19-B091-3C7D1958265C}"/>
                </a:ext>
              </a:extLst>
            </p:cNvPr>
            <p:cNvSpPr/>
            <p:nvPr/>
          </p:nvSpPr>
          <p:spPr bwMode="auto">
            <a:xfrm>
              <a:off x="5142943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9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9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4" name="任意多边形: 形状 553">
              <a:extLst>
                <a:ext uri="{FF2B5EF4-FFF2-40B4-BE49-F238E27FC236}">
                  <a16:creationId xmlns:a16="http://schemas.microsoft.com/office/drawing/2014/main" id="{9195F1E0-97ED-46D5-93CE-83DF3B79DFE5}"/>
                </a:ext>
              </a:extLst>
            </p:cNvPr>
            <p:cNvSpPr/>
            <p:nvPr/>
          </p:nvSpPr>
          <p:spPr bwMode="auto">
            <a:xfrm>
              <a:off x="52956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7" y="25"/>
                    <a:pt x="17" y="25"/>
                  </a:cubicBezTo>
                  <a:cubicBezTo>
                    <a:pt x="26" y="25"/>
                    <a:pt x="34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5" name="任意多边形: 形状 554">
              <a:extLst>
                <a:ext uri="{FF2B5EF4-FFF2-40B4-BE49-F238E27FC236}">
                  <a16:creationId xmlns:a16="http://schemas.microsoft.com/office/drawing/2014/main" id="{57E78CAE-5691-40D6-9504-60A278B61644}"/>
                </a:ext>
              </a:extLst>
            </p:cNvPr>
            <p:cNvSpPr/>
            <p:nvPr/>
          </p:nvSpPr>
          <p:spPr bwMode="auto">
            <a:xfrm>
              <a:off x="5448446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8" y="0"/>
                    <a:pt x="18" y="0"/>
                  </a:cubicBezTo>
                  <a:cubicBezTo>
                    <a:pt x="9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6" name="任意多边形: 形状 555">
              <a:extLst>
                <a:ext uri="{FF2B5EF4-FFF2-40B4-BE49-F238E27FC236}">
                  <a16:creationId xmlns:a16="http://schemas.microsoft.com/office/drawing/2014/main" id="{23679357-8C98-4578-9FF9-D68DCB103CAC}"/>
                </a:ext>
              </a:extLst>
            </p:cNvPr>
            <p:cNvSpPr/>
            <p:nvPr/>
          </p:nvSpPr>
          <p:spPr bwMode="auto">
            <a:xfrm>
              <a:off x="5602741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7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7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7" name="任意多边形: 形状 556">
              <a:extLst>
                <a:ext uri="{FF2B5EF4-FFF2-40B4-BE49-F238E27FC236}">
                  <a16:creationId xmlns:a16="http://schemas.microsoft.com/office/drawing/2014/main" id="{984EC6D4-AA60-4FA8-8A8C-49669BFE22D2}"/>
                </a:ext>
              </a:extLst>
            </p:cNvPr>
            <p:cNvSpPr/>
            <p:nvPr/>
          </p:nvSpPr>
          <p:spPr bwMode="auto">
            <a:xfrm>
              <a:off x="5755493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8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8" y="0"/>
                  </a:cubicBezTo>
                  <a:cubicBezTo>
                    <a:pt x="8" y="0"/>
                    <a:pt x="1" y="5"/>
                    <a:pt x="0" y="12"/>
                  </a:cubicBezTo>
                  <a:cubicBezTo>
                    <a:pt x="0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8" name="任意多边形: 形状 557">
              <a:extLst>
                <a:ext uri="{FF2B5EF4-FFF2-40B4-BE49-F238E27FC236}">
                  <a16:creationId xmlns:a16="http://schemas.microsoft.com/office/drawing/2014/main" id="{5196D81E-5AC7-4492-89D4-41051A60C0E2}"/>
                </a:ext>
              </a:extLst>
            </p:cNvPr>
            <p:cNvSpPr/>
            <p:nvPr/>
          </p:nvSpPr>
          <p:spPr bwMode="auto">
            <a:xfrm>
              <a:off x="5908244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8" y="25"/>
                    <a:pt x="18" y="25"/>
                  </a:cubicBezTo>
                  <a:cubicBezTo>
                    <a:pt x="27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9" name="任意多边形: 形状 558">
              <a:extLst>
                <a:ext uri="{FF2B5EF4-FFF2-40B4-BE49-F238E27FC236}">
                  <a16:creationId xmlns:a16="http://schemas.microsoft.com/office/drawing/2014/main" id="{04F79D17-B6A7-4451-AADD-218A8AFCECE5}"/>
                </a:ext>
              </a:extLst>
            </p:cNvPr>
            <p:cNvSpPr/>
            <p:nvPr/>
          </p:nvSpPr>
          <p:spPr bwMode="auto">
            <a:xfrm>
              <a:off x="6062539" y="3331707"/>
              <a:ext cx="126522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0" name="任意多边形: 形状 559">
              <a:extLst>
                <a:ext uri="{FF2B5EF4-FFF2-40B4-BE49-F238E27FC236}">
                  <a16:creationId xmlns:a16="http://schemas.microsoft.com/office/drawing/2014/main" id="{9C5D665E-30DF-4D1F-A907-551B78809A59}"/>
                </a:ext>
              </a:extLst>
            </p:cNvPr>
            <p:cNvSpPr/>
            <p:nvPr/>
          </p:nvSpPr>
          <p:spPr bwMode="auto">
            <a:xfrm>
              <a:off x="6215291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8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8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1" name="任意多边形: 形状 560">
              <a:extLst>
                <a:ext uri="{FF2B5EF4-FFF2-40B4-BE49-F238E27FC236}">
                  <a16:creationId xmlns:a16="http://schemas.microsoft.com/office/drawing/2014/main" id="{BCEADDD3-84E6-49B6-88CA-7A2614B6B1B4}"/>
                </a:ext>
              </a:extLst>
            </p:cNvPr>
            <p:cNvSpPr/>
            <p:nvPr/>
          </p:nvSpPr>
          <p:spPr bwMode="auto">
            <a:xfrm>
              <a:off x="6368042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7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2" name="任意多边形: 形状 561">
              <a:extLst>
                <a:ext uri="{FF2B5EF4-FFF2-40B4-BE49-F238E27FC236}">
                  <a16:creationId xmlns:a16="http://schemas.microsoft.com/office/drawing/2014/main" id="{87C92D45-E0A2-46BB-A4DF-38ADEFB8E14B}"/>
                </a:ext>
              </a:extLst>
            </p:cNvPr>
            <p:cNvSpPr/>
            <p:nvPr/>
          </p:nvSpPr>
          <p:spPr bwMode="auto">
            <a:xfrm>
              <a:off x="6520795" y="3331707"/>
              <a:ext cx="128065" cy="91034"/>
            </a:xfrm>
            <a:custGeom>
              <a:avLst/>
              <a:gdLst>
                <a:gd name="T0" fmla="*/ 35 w 35"/>
                <a:gd name="T1" fmla="*/ 12 h 25"/>
                <a:gd name="T2" fmla="*/ 16 w 35"/>
                <a:gd name="T3" fmla="*/ 0 h 25"/>
                <a:gd name="T4" fmla="*/ 0 w 35"/>
                <a:gd name="T5" fmla="*/ 12 h 25"/>
                <a:gd name="T6" fmla="*/ 19 w 35"/>
                <a:gd name="T7" fmla="*/ 25 h 25"/>
                <a:gd name="T8" fmla="*/ 35 w 35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9" y="25"/>
                    <a:pt x="19" y="25"/>
                  </a:cubicBezTo>
                  <a:cubicBezTo>
                    <a:pt x="28" y="25"/>
                    <a:pt x="35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3" name="任意多边形: 形状 562">
              <a:extLst>
                <a:ext uri="{FF2B5EF4-FFF2-40B4-BE49-F238E27FC236}">
                  <a16:creationId xmlns:a16="http://schemas.microsoft.com/office/drawing/2014/main" id="{4C73E8A7-10DE-4250-82E2-BE436DF46A07}"/>
                </a:ext>
              </a:extLst>
            </p:cNvPr>
            <p:cNvSpPr/>
            <p:nvPr/>
          </p:nvSpPr>
          <p:spPr bwMode="auto">
            <a:xfrm>
              <a:off x="6675089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4" name="任意多边形: 形状 563">
              <a:extLst>
                <a:ext uri="{FF2B5EF4-FFF2-40B4-BE49-F238E27FC236}">
                  <a16:creationId xmlns:a16="http://schemas.microsoft.com/office/drawing/2014/main" id="{C391A8F9-054F-4BFC-A119-B23AFDFD767B}"/>
                </a:ext>
              </a:extLst>
            </p:cNvPr>
            <p:cNvSpPr/>
            <p:nvPr/>
          </p:nvSpPr>
          <p:spPr bwMode="auto">
            <a:xfrm>
              <a:off x="6827841" y="3331707"/>
              <a:ext cx="131151" cy="91034"/>
            </a:xfrm>
            <a:custGeom>
              <a:avLst/>
              <a:gdLst>
                <a:gd name="T0" fmla="*/ 35 w 36"/>
                <a:gd name="T1" fmla="*/ 12 h 25"/>
                <a:gd name="T2" fmla="*/ 16 w 36"/>
                <a:gd name="T3" fmla="*/ 0 h 25"/>
                <a:gd name="T4" fmla="*/ 0 w 36"/>
                <a:gd name="T5" fmla="*/ 12 h 25"/>
                <a:gd name="T6" fmla="*/ 19 w 36"/>
                <a:gd name="T7" fmla="*/ 25 h 25"/>
                <a:gd name="T8" fmla="*/ 35 w 36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5">
                  <a:moveTo>
                    <a:pt x="35" y="12"/>
                  </a:moveTo>
                  <a:cubicBezTo>
                    <a:pt x="34" y="5"/>
                    <a:pt x="25" y="0"/>
                    <a:pt x="16" y="0"/>
                  </a:cubicBezTo>
                  <a:cubicBezTo>
                    <a:pt x="6" y="0"/>
                    <a:pt x="0" y="5"/>
                    <a:pt x="0" y="12"/>
                  </a:cubicBezTo>
                  <a:cubicBezTo>
                    <a:pt x="1" y="19"/>
                    <a:pt x="10" y="25"/>
                    <a:pt x="19" y="25"/>
                  </a:cubicBezTo>
                  <a:cubicBezTo>
                    <a:pt x="29" y="25"/>
                    <a:pt x="36" y="19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5" name="任意多边形: 形状 564">
              <a:extLst>
                <a:ext uri="{FF2B5EF4-FFF2-40B4-BE49-F238E27FC236}">
                  <a16:creationId xmlns:a16="http://schemas.microsoft.com/office/drawing/2014/main" id="{86CEC5CD-8C55-4A4A-AE5C-5FBDB67B1B27}"/>
                </a:ext>
              </a:extLst>
            </p:cNvPr>
            <p:cNvSpPr/>
            <p:nvPr/>
          </p:nvSpPr>
          <p:spPr bwMode="auto">
            <a:xfrm>
              <a:off x="6977507" y="3331707"/>
              <a:ext cx="135779" cy="91034"/>
            </a:xfrm>
            <a:custGeom>
              <a:avLst/>
              <a:gdLst>
                <a:gd name="T0" fmla="*/ 36 w 37"/>
                <a:gd name="T1" fmla="*/ 12 h 25"/>
                <a:gd name="T2" fmla="*/ 17 w 37"/>
                <a:gd name="T3" fmla="*/ 0 h 25"/>
                <a:gd name="T4" fmla="*/ 1 w 37"/>
                <a:gd name="T5" fmla="*/ 12 h 25"/>
                <a:gd name="T6" fmla="*/ 21 w 37"/>
                <a:gd name="T7" fmla="*/ 25 h 25"/>
                <a:gd name="T8" fmla="*/ 36 w 37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5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19"/>
                    <a:pt x="11" y="25"/>
                    <a:pt x="21" y="25"/>
                  </a:cubicBezTo>
                  <a:cubicBezTo>
                    <a:pt x="30" y="25"/>
                    <a:pt x="37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6" name="椭圆 565">
              <a:extLst>
                <a:ext uri="{FF2B5EF4-FFF2-40B4-BE49-F238E27FC236}">
                  <a16:creationId xmlns:a16="http://schemas.microsoft.com/office/drawing/2014/main" id="{C3A16AFF-A711-4C5A-AA80-1900EA744F66}"/>
                </a:ext>
              </a:extLst>
            </p:cNvPr>
            <p:cNvSpPr/>
            <p:nvPr/>
          </p:nvSpPr>
          <p:spPr bwMode="auto">
            <a:xfrm>
              <a:off x="5755493" y="3445885"/>
              <a:ext cx="128065" cy="94120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7" name="任意多边形: 形状 566">
              <a:extLst>
                <a:ext uri="{FF2B5EF4-FFF2-40B4-BE49-F238E27FC236}">
                  <a16:creationId xmlns:a16="http://schemas.microsoft.com/office/drawing/2014/main" id="{AA1B4DBE-6C27-407D-9F0D-2135D23FAB60}"/>
                </a:ext>
              </a:extLst>
            </p:cNvPr>
            <p:cNvSpPr/>
            <p:nvPr/>
          </p:nvSpPr>
          <p:spPr bwMode="auto">
            <a:xfrm>
              <a:off x="5912874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7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7" y="26"/>
                  </a:cubicBezTo>
                  <a:cubicBezTo>
                    <a:pt x="27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8" name="任意多边形: 形状 567">
              <a:extLst>
                <a:ext uri="{FF2B5EF4-FFF2-40B4-BE49-F238E27FC236}">
                  <a16:creationId xmlns:a16="http://schemas.microsoft.com/office/drawing/2014/main" id="{203A1643-524D-45CB-9302-A8C906A41B82}"/>
                </a:ext>
              </a:extLst>
            </p:cNvPr>
            <p:cNvSpPr/>
            <p:nvPr/>
          </p:nvSpPr>
          <p:spPr bwMode="auto">
            <a:xfrm>
              <a:off x="6065625" y="3445885"/>
              <a:ext cx="128065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8" y="0"/>
                    <a:pt x="0" y="5"/>
                    <a:pt x="0" y="12"/>
                  </a:cubicBezTo>
                  <a:cubicBezTo>
                    <a:pt x="1" y="20"/>
                    <a:pt x="9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9" name="任意多边形: 形状 568">
              <a:extLst>
                <a:ext uri="{FF2B5EF4-FFF2-40B4-BE49-F238E27FC236}">
                  <a16:creationId xmlns:a16="http://schemas.microsoft.com/office/drawing/2014/main" id="{2ADD3FA4-CF6F-4F2D-BD23-C5831371F280}"/>
                </a:ext>
              </a:extLst>
            </p:cNvPr>
            <p:cNvSpPr/>
            <p:nvPr/>
          </p:nvSpPr>
          <p:spPr bwMode="auto">
            <a:xfrm>
              <a:off x="6223006" y="3445885"/>
              <a:ext cx="126522" cy="94120"/>
            </a:xfrm>
            <a:custGeom>
              <a:avLst/>
              <a:gdLst>
                <a:gd name="T0" fmla="*/ 35 w 35"/>
                <a:gd name="T1" fmla="*/ 12 h 26"/>
                <a:gd name="T2" fmla="*/ 17 w 35"/>
                <a:gd name="T3" fmla="*/ 0 h 26"/>
                <a:gd name="T4" fmla="*/ 0 w 35"/>
                <a:gd name="T5" fmla="*/ 12 h 26"/>
                <a:gd name="T6" fmla="*/ 18 w 35"/>
                <a:gd name="T7" fmla="*/ 26 h 26"/>
                <a:gd name="T8" fmla="*/ 35 w 35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35" y="12"/>
                  </a:moveTo>
                  <a:cubicBezTo>
                    <a:pt x="34" y="5"/>
                    <a:pt x="26" y="0"/>
                    <a:pt x="17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0" y="20"/>
                    <a:pt x="8" y="26"/>
                    <a:pt x="18" y="26"/>
                  </a:cubicBezTo>
                  <a:cubicBezTo>
                    <a:pt x="28" y="26"/>
                    <a:pt x="35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0" name="任意多边形: 形状 569">
              <a:extLst>
                <a:ext uri="{FF2B5EF4-FFF2-40B4-BE49-F238E27FC236}">
                  <a16:creationId xmlns:a16="http://schemas.microsoft.com/office/drawing/2014/main" id="{B203362A-13B8-423B-97D7-E744A3F21AC8}"/>
                </a:ext>
              </a:extLst>
            </p:cNvPr>
            <p:cNvSpPr/>
            <p:nvPr/>
          </p:nvSpPr>
          <p:spPr bwMode="auto">
            <a:xfrm>
              <a:off x="637575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5" y="5"/>
                    <a:pt x="27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1" name="任意多边形: 形状 570">
              <a:extLst>
                <a:ext uri="{FF2B5EF4-FFF2-40B4-BE49-F238E27FC236}">
                  <a16:creationId xmlns:a16="http://schemas.microsoft.com/office/drawing/2014/main" id="{D96FEA92-F071-4B70-AB0D-FC6A894B80FD}"/>
                </a:ext>
              </a:extLst>
            </p:cNvPr>
            <p:cNvSpPr/>
            <p:nvPr/>
          </p:nvSpPr>
          <p:spPr bwMode="auto">
            <a:xfrm>
              <a:off x="6533138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19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9" y="26"/>
                    <a:pt x="19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2" name="任意多边形: 形状 571">
              <a:extLst>
                <a:ext uri="{FF2B5EF4-FFF2-40B4-BE49-F238E27FC236}">
                  <a16:creationId xmlns:a16="http://schemas.microsoft.com/office/drawing/2014/main" id="{62E21343-4310-4E71-8928-CD8C754D30D5}"/>
                </a:ext>
              </a:extLst>
            </p:cNvPr>
            <p:cNvSpPr/>
            <p:nvPr/>
          </p:nvSpPr>
          <p:spPr bwMode="auto">
            <a:xfrm>
              <a:off x="6685889" y="3445885"/>
              <a:ext cx="131151" cy="94120"/>
            </a:xfrm>
            <a:custGeom>
              <a:avLst/>
              <a:gdLst>
                <a:gd name="T0" fmla="*/ 36 w 36"/>
                <a:gd name="T1" fmla="*/ 12 h 26"/>
                <a:gd name="T2" fmla="*/ 17 w 36"/>
                <a:gd name="T3" fmla="*/ 0 h 26"/>
                <a:gd name="T4" fmla="*/ 1 w 36"/>
                <a:gd name="T5" fmla="*/ 12 h 26"/>
                <a:gd name="T6" fmla="*/ 20 w 36"/>
                <a:gd name="T7" fmla="*/ 26 h 26"/>
                <a:gd name="T8" fmla="*/ 36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12"/>
                  </a:moveTo>
                  <a:cubicBezTo>
                    <a:pt x="35" y="5"/>
                    <a:pt x="26" y="0"/>
                    <a:pt x="17" y="0"/>
                  </a:cubicBezTo>
                  <a:cubicBezTo>
                    <a:pt x="7" y="0"/>
                    <a:pt x="0" y="5"/>
                    <a:pt x="1" y="12"/>
                  </a:cubicBezTo>
                  <a:cubicBezTo>
                    <a:pt x="2" y="20"/>
                    <a:pt x="10" y="26"/>
                    <a:pt x="20" y="26"/>
                  </a:cubicBezTo>
                  <a:cubicBezTo>
                    <a:pt x="29" y="26"/>
                    <a:pt x="36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3" name="任意多边形: 形状 572">
              <a:extLst>
                <a:ext uri="{FF2B5EF4-FFF2-40B4-BE49-F238E27FC236}">
                  <a16:creationId xmlns:a16="http://schemas.microsoft.com/office/drawing/2014/main" id="{BE3262B6-82FA-4941-9417-3A8DB3595944}"/>
                </a:ext>
              </a:extLst>
            </p:cNvPr>
            <p:cNvSpPr/>
            <p:nvPr/>
          </p:nvSpPr>
          <p:spPr bwMode="auto">
            <a:xfrm>
              <a:off x="6843270" y="3445885"/>
              <a:ext cx="131151" cy="94120"/>
            </a:xfrm>
            <a:custGeom>
              <a:avLst/>
              <a:gdLst>
                <a:gd name="T0" fmla="*/ 35 w 36"/>
                <a:gd name="T1" fmla="*/ 12 h 26"/>
                <a:gd name="T2" fmla="*/ 16 w 36"/>
                <a:gd name="T3" fmla="*/ 0 h 26"/>
                <a:gd name="T4" fmla="*/ 0 w 36"/>
                <a:gd name="T5" fmla="*/ 12 h 26"/>
                <a:gd name="T6" fmla="*/ 20 w 36"/>
                <a:gd name="T7" fmla="*/ 26 h 26"/>
                <a:gd name="T8" fmla="*/ 35 w 36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5" y="12"/>
                  </a:moveTo>
                  <a:cubicBezTo>
                    <a:pt x="34" y="5"/>
                    <a:pt x="26" y="0"/>
                    <a:pt x="16" y="0"/>
                  </a:cubicBezTo>
                  <a:cubicBezTo>
                    <a:pt x="7" y="0"/>
                    <a:pt x="0" y="5"/>
                    <a:pt x="0" y="12"/>
                  </a:cubicBezTo>
                  <a:cubicBezTo>
                    <a:pt x="1" y="20"/>
                    <a:pt x="10" y="26"/>
                    <a:pt x="20" y="26"/>
                  </a:cubicBezTo>
                  <a:cubicBezTo>
                    <a:pt x="29" y="26"/>
                    <a:pt x="36" y="20"/>
                    <a:pt x="35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4" name="任意多边形: 形状 573">
              <a:extLst>
                <a:ext uri="{FF2B5EF4-FFF2-40B4-BE49-F238E27FC236}">
                  <a16:creationId xmlns:a16="http://schemas.microsoft.com/office/drawing/2014/main" id="{3C3D8C79-F334-446A-BF54-34D36475BB4E}"/>
                </a:ext>
              </a:extLst>
            </p:cNvPr>
            <p:cNvSpPr/>
            <p:nvPr/>
          </p:nvSpPr>
          <p:spPr bwMode="auto">
            <a:xfrm>
              <a:off x="5755493" y="3558521"/>
              <a:ext cx="128065" cy="98749"/>
            </a:xfrm>
            <a:custGeom>
              <a:avLst/>
              <a:gdLst>
                <a:gd name="T0" fmla="*/ 35 w 35"/>
                <a:gd name="T1" fmla="*/ 14 h 27"/>
                <a:gd name="T2" fmla="*/ 18 w 35"/>
                <a:gd name="T3" fmla="*/ 0 h 27"/>
                <a:gd name="T4" fmla="*/ 0 w 35"/>
                <a:gd name="T5" fmla="*/ 14 h 27"/>
                <a:gd name="T6" fmla="*/ 17 w 35"/>
                <a:gd name="T7" fmla="*/ 27 h 27"/>
                <a:gd name="T8" fmla="*/ 35 w 35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7" y="27"/>
                  </a:cubicBezTo>
                  <a:cubicBezTo>
                    <a:pt x="27" y="27"/>
                    <a:pt x="35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5" name="任意多边形: 形状 574">
              <a:extLst>
                <a:ext uri="{FF2B5EF4-FFF2-40B4-BE49-F238E27FC236}">
                  <a16:creationId xmlns:a16="http://schemas.microsoft.com/office/drawing/2014/main" id="{9D3F135C-8515-41E7-9DBB-6581932B00F8}"/>
                </a:ext>
              </a:extLst>
            </p:cNvPr>
            <p:cNvSpPr/>
            <p:nvPr/>
          </p:nvSpPr>
          <p:spPr bwMode="auto">
            <a:xfrm>
              <a:off x="5912874" y="3558521"/>
              <a:ext cx="131151" cy="98749"/>
            </a:xfrm>
            <a:custGeom>
              <a:avLst/>
              <a:gdLst>
                <a:gd name="T0" fmla="*/ 35 w 36"/>
                <a:gd name="T1" fmla="*/ 14 h 27"/>
                <a:gd name="T2" fmla="*/ 18 w 36"/>
                <a:gd name="T3" fmla="*/ 0 h 27"/>
                <a:gd name="T4" fmla="*/ 0 w 36"/>
                <a:gd name="T5" fmla="*/ 14 h 27"/>
                <a:gd name="T6" fmla="*/ 18 w 36"/>
                <a:gd name="T7" fmla="*/ 27 h 27"/>
                <a:gd name="T8" fmla="*/ 35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5" y="14"/>
                  </a:moveTo>
                  <a:cubicBezTo>
                    <a:pt x="35" y="6"/>
                    <a:pt x="27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1"/>
                    <a:pt x="8" y="27"/>
                    <a:pt x="18" y="27"/>
                  </a:cubicBezTo>
                  <a:cubicBezTo>
                    <a:pt x="28" y="27"/>
                    <a:pt x="36" y="21"/>
                    <a:pt x="35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2CB4EA0A-98AC-4C75-9DF7-835761D57656}"/>
                </a:ext>
              </a:extLst>
            </p:cNvPr>
            <p:cNvSpPr/>
            <p:nvPr/>
          </p:nvSpPr>
          <p:spPr bwMode="auto">
            <a:xfrm>
              <a:off x="606871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8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7" name="任意多边形: 形状 576">
              <a:extLst>
                <a:ext uri="{FF2B5EF4-FFF2-40B4-BE49-F238E27FC236}">
                  <a16:creationId xmlns:a16="http://schemas.microsoft.com/office/drawing/2014/main" id="{D99BDE15-0C76-42E3-9350-844E5F190424}"/>
                </a:ext>
              </a:extLst>
            </p:cNvPr>
            <p:cNvSpPr/>
            <p:nvPr/>
          </p:nvSpPr>
          <p:spPr bwMode="auto">
            <a:xfrm>
              <a:off x="6226091" y="3558521"/>
              <a:ext cx="131151" cy="98749"/>
            </a:xfrm>
            <a:custGeom>
              <a:avLst/>
              <a:gdLst>
                <a:gd name="T0" fmla="*/ 36 w 36"/>
                <a:gd name="T1" fmla="*/ 14 h 27"/>
                <a:gd name="T2" fmla="*/ 17 w 36"/>
                <a:gd name="T3" fmla="*/ 0 h 27"/>
                <a:gd name="T4" fmla="*/ 1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9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8" name="任意多边形: 形状 577">
              <a:extLst>
                <a:ext uri="{FF2B5EF4-FFF2-40B4-BE49-F238E27FC236}">
                  <a16:creationId xmlns:a16="http://schemas.microsoft.com/office/drawing/2014/main" id="{BF8C0DBA-8886-4F9A-A834-40A5B10D0111}"/>
                </a:ext>
              </a:extLst>
            </p:cNvPr>
            <p:cNvSpPr/>
            <p:nvPr/>
          </p:nvSpPr>
          <p:spPr bwMode="auto">
            <a:xfrm>
              <a:off x="6383472" y="3558521"/>
              <a:ext cx="134237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1"/>
                    <a:pt x="10" y="27"/>
                    <a:pt x="20" y="27"/>
                  </a:cubicBezTo>
                  <a:cubicBezTo>
                    <a:pt x="29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9" name="任意多边形: 形状 578">
              <a:extLst>
                <a:ext uri="{FF2B5EF4-FFF2-40B4-BE49-F238E27FC236}">
                  <a16:creationId xmlns:a16="http://schemas.microsoft.com/office/drawing/2014/main" id="{5099D453-B237-401E-9636-0F5F1482C243}"/>
                </a:ext>
              </a:extLst>
            </p:cNvPr>
            <p:cNvSpPr/>
            <p:nvPr/>
          </p:nvSpPr>
          <p:spPr bwMode="auto">
            <a:xfrm>
              <a:off x="6539310" y="3558521"/>
              <a:ext cx="135779" cy="98749"/>
            </a:xfrm>
            <a:custGeom>
              <a:avLst/>
              <a:gdLst>
                <a:gd name="T0" fmla="*/ 36 w 37"/>
                <a:gd name="T1" fmla="*/ 14 h 27"/>
                <a:gd name="T2" fmla="*/ 17 w 37"/>
                <a:gd name="T3" fmla="*/ 0 h 27"/>
                <a:gd name="T4" fmla="*/ 1 w 37"/>
                <a:gd name="T5" fmla="*/ 14 h 27"/>
                <a:gd name="T6" fmla="*/ 20 w 37"/>
                <a:gd name="T7" fmla="*/ 27 h 27"/>
                <a:gd name="T8" fmla="*/ 36 w 37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7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1"/>
                    <a:pt x="10" y="27"/>
                    <a:pt x="20" y="27"/>
                  </a:cubicBezTo>
                  <a:cubicBezTo>
                    <a:pt x="30" y="27"/>
                    <a:pt x="37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0" name="任意多边形: 形状 579">
              <a:extLst>
                <a:ext uri="{FF2B5EF4-FFF2-40B4-BE49-F238E27FC236}">
                  <a16:creationId xmlns:a16="http://schemas.microsoft.com/office/drawing/2014/main" id="{CC397F83-1BB1-4869-84AB-EAF9AE0F0936}"/>
                </a:ext>
              </a:extLst>
            </p:cNvPr>
            <p:cNvSpPr/>
            <p:nvPr/>
          </p:nvSpPr>
          <p:spPr bwMode="auto">
            <a:xfrm>
              <a:off x="6699776" y="3558521"/>
              <a:ext cx="132693" cy="98749"/>
            </a:xfrm>
            <a:custGeom>
              <a:avLst/>
              <a:gdLst>
                <a:gd name="T0" fmla="*/ 36 w 36"/>
                <a:gd name="T1" fmla="*/ 14 h 27"/>
                <a:gd name="T2" fmla="*/ 16 w 36"/>
                <a:gd name="T3" fmla="*/ 0 h 27"/>
                <a:gd name="T4" fmla="*/ 0 w 36"/>
                <a:gd name="T5" fmla="*/ 14 h 27"/>
                <a:gd name="T6" fmla="*/ 19 w 36"/>
                <a:gd name="T7" fmla="*/ 27 h 27"/>
                <a:gd name="T8" fmla="*/ 36 w 36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7">
                  <a:moveTo>
                    <a:pt x="36" y="14"/>
                  </a:moveTo>
                  <a:cubicBezTo>
                    <a:pt x="35" y="6"/>
                    <a:pt x="26" y="0"/>
                    <a:pt x="16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1"/>
                    <a:pt x="10" y="27"/>
                    <a:pt x="19" y="27"/>
                  </a:cubicBezTo>
                  <a:cubicBezTo>
                    <a:pt x="29" y="27"/>
                    <a:pt x="36" y="21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1" name="任意多边形: 形状 580">
              <a:extLst>
                <a:ext uri="{FF2B5EF4-FFF2-40B4-BE49-F238E27FC236}">
                  <a16:creationId xmlns:a16="http://schemas.microsoft.com/office/drawing/2014/main" id="{5FD715C6-FD4D-4C2D-AE41-2B06E2C49671}"/>
                </a:ext>
              </a:extLst>
            </p:cNvPr>
            <p:cNvSpPr/>
            <p:nvPr/>
          </p:nvSpPr>
          <p:spPr bwMode="auto">
            <a:xfrm>
              <a:off x="5750864" y="3678870"/>
              <a:ext cx="132693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1 w 36"/>
                <a:gd name="T5" fmla="*/ 14 h 28"/>
                <a:gd name="T6" fmla="*/ 18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9" y="0"/>
                    <a:pt x="1" y="6"/>
                    <a:pt x="1" y="14"/>
                  </a:cubicBezTo>
                  <a:cubicBezTo>
                    <a:pt x="0" y="22"/>
                    <a:pt x="8" y="28"/>
                    <a:pt x="18" y="28"/>
                  </a:cubicBezTo>
                  <a:cubicBezTo>
                    <a:pt x="28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2" name="任意多边形: 形状 581">
              <a:extLst>
                <a:ext uri="{FF2B5EF4-FFF2-40B4-BE49-F238E27FC236}">
                  <a16:creationId xmlns:a16="http://schemas.microsoft.com/office/drawing/2014/main" id="{A0FD23B4-63CE-436B-9A35-02C7B20BE2C3}"/>
                </a:ext>
              </a:extLst>
            </p:cNvPr>
            <p:cNvSpPr/>
            <p:nvPr/>
          </p:nvSpPr>
          <p:spPr bwMode="auto">
            <a:xfrm>
              <a:off x="5912874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3" name="任意多边形: 形状 582">
              <a:extLst>
                <a:ext uri="{FF2B5EF4-FFF2-40B4-BE49-F238E27FC236}">
                  <a16:creationId xmlns:a16="http://schemas.microsoft.com/office/drawing/2014/main" id="{27F3A96F-903D-4C52-B253-077104725415}"/>
                </a:ext>
              </a:extLst>
            </p:cNvPr>
            <p:cNvSpPr/>
            <p:nvPr/>
          </p:nvSpPr>
          <p:spPr bwMode="auto">
            <a:xfrm>
              <a:off x="6073340" y="3678870"/>
              <a:ext cx="131151" cy="103378"/>
            </a:xfrm>
            <a:custGeom>
              <a:avLst/>
              <a:gdLst>
                <a:gd name="T0" fmla="*/ 36 w 36"/>
                <a:gd name="T1" fmla="*/ 14 h 28"/>
                <a:gd name="T2" fmla="*/ 18 w 36"/>
                <a:gd name="T3" fmla="*/ 0 h 28"/>
                <a:gd name="T4" fmla="*/ 0 w 36"/>
                <a:gd name="T5" fmla="*/ 14 h 28"/>
                <a:gd name="T6" fmla="*/ 19 w 36"/>
                <a:gd name="T7" fmla="*/ 28 h 28"/>
                <a:gd name="T8" fmla="*/ 36 w 36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8">
                  <a:moveTo>
                    <a:pt x="36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6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4" name="任意多边形: 形状 583">
              <a:extLst>
                <a:ext uri="{FF2B5EF4-FFF2-40B4-BE49-F238E27FC236}">
                  <a16:creationId xmlns:a16="http://schemas.microsoft.com/office/drawing/2014/main" id="{CF2235A7-0848-42D9-AA33-095FDCB5600A}"/>
                </a:ext>
              </a:extLst>
            </p:cNvPr>
            <p:cNvSpPr/>
            <p:nvPr/>
          </p:nvSpPr>
          <p:spPr bwMode="auto">
            <a:xfrm>
              <a:off x="6233807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5" name="任意多边形: 形状 584">
              <a:extLst>
                <a:ext uri="{FF2B5EF4-FFF2-40B4-BE49-F238E27FC236}">
                  <a16:creationId xmlns:a16="http://schemas.microsoft.com/office/drawing/2014/main" id="{19299E3A-8118-4B7D-8B29-07DE6BC55CE4}"/>
                </a:ext>
              </a:extLst>
            </p:cNvPr>
            <p:cNvSpPr/>
            <p:nvPr/>
          </p:nvSpPr>
          <p:spPr bwMode="auto">
            <a:xfrm>
              <a:off x="6394273" y="3678870"/>
              <a:ext cx="134237" cy="103378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5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6" name="任意多边形: 形状 585">
              <a:extLst>
                <a:ext uri="{FF2B5EF4-FFF2-40B4-BE49-F238E27FC236}">
                  <a16:creationId xmlns:a16="http://schemas.microsoft.com/office/drawing/2014/main" id="{B26ADCE0-6053-406F-BD1C-0EDABCBF29BE}"/>
                </a:ext>
              </a:extLst>
            </p:cNvPr>
            <p:cNvSpPr/>
            <p:nvPr/>
          </p:nvSpPr>
          <p:spPr bwMode="auto">
            <a:xfrm>
              <a:off x="6550110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7" name="任意多边形: 形状 586">
              <a:extLst>
                <a:ext uri="{FF2B5EF4-FFF2-40B4-BE49-F238E27FC236}">
                  <a16:creationId xmlns:a16="http://schemas.microsoft.com/office/drawing/2014/main" id="{FCC26FBC-E206-40E3-A3EF-F36B559CCAB2}"/>
                </a:ext>
              </a:extLst>
            </p:cNvPr>
            <p:cNvSpPr/>
            <p:nvPr/>
          </p:nvSpPr>
          <p:spPr bwMode="auto">
            <a:xfrm>
              <a:off x="6710577" y="3678870"/>
              <a:ext cx="138865" cy="103378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2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8" name="椭圆 587">
              <a:extLst>
                <a:ext uri="{FF2B5EF4-FFF2-40B4-BE49-F238E27FC236}">
                  <a16:creationId xmlns:a16="http://schemas.microsoft.com/office/drawing/2014/main" id="{BC9CFB54-F0D5-4CDD-BD37-5C537EBB8209}"/>
                </a:ext>
              </a:extLst>
            </p:cNvPr>
            <p:cNvSpPr/>
            <p:nvPr/>
          </p:nvSpPr>
          <p:spPr bwMode="auto">
            <a:xfrm>
              <a:off x="5915960" y="3803849"/>
              <a:ext cx="131151" cy="101834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9" name="任意多边形: 形状 588">
              <a:extLst>
                <a:ext uri="{FF2B5EF4-FFF2-40B4-BE49-F238E27FC236}">
                  <a16:creationId xmlns:a16="http://schemas.microsoft.com/office/drawing/2014/main" id="{3A352415-F94C-49F9-B558-1B8E9879992C}"/>
                </a:ext>
              </a:extLst>
            </p:cNvPr>
            <p:cNvSpPr/>
            <p:nvPr/>
          </p:nvSpPr>
          <p:spPr bwMode="auto">
            <a:xfrm>
              <a:off x="6076426" y="3803849"/>
              <a:ext cx="134237" cy="101834"/>
            </a:xfrm>
            <a:custGeom>
              <a:avLst/>
              <a:gdLst>
                <a:gd name="T0" fmla="*/ 37 w 37"/>
                <a:gd name="T1" fmla="*/ 14 h 28"/>
                <a:gd name="T2" fmla="*/ 18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7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8"/>
                    <a:pt x="19" y="28"/>
                  </a:cubicBezTo>
                  <a:cubicBezTo>
                    <a:pt x="29" y="28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0" name="任意多边形: 形状 589">
              <a:extLst>
                <a:ext uri="{FF2B5EF4-FFF2-40B4-BE49-F238E27FC236}">
                  <a16:creationId xmlns:a16="http://schemas.microsoft.com/office/drawing/2014/main" id="{5E817970-B736-4CE5-97B3-6277E7E3CB48}"/>
                </a:ext>
              </a:extLst>
            </p:cNvPr>
            <p:cNvSpPr/>
            <p:nvPr/>
          </p:nvSpPr>
          <p:spPr bwMode="auto">
            <a:xfrm>
              <a:off x="6239978" y="3803849"/>
              <a:ext cx="135779" cy="101834"/>
            </a:xfrm>
            <a:custGeom>
              <a:avLst/>
              <a:gdLst>
                <a:gd name="T0" fmla="*/ 36 w 37"/>
                <a:gd name="T1" fmla="*/ 14 h 28"/>
                <a:gd name="T2" fmla="*/ 17 w 37"/>
                <a:gd name="T3" fmla="*/ 0 h 28"/>
                <a:gd name="T4" fmla="*/ 0 w 37"/>
                <a:gd name="T5" fmla="*/ 14 h 28"/>
                <a:gd name="T6" fmla="*/ 19 w 37"/>
                <a:gd name="T7" fmla="*/ 28 h 28"/>
                <a:gd name="T8" fmla="*/ 36 w 37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8">
                  <a:moveTo>
                    <a:pt x="36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0" y="22"/>
                    <a:pt x="9" y="28"/>
                    <a:pt x="19" y="28"/>
                  </a:cubicBezTo>
                  <a:cubicBezTo>
                    <a:pt x="29" y="28"/>
                    <a:pt x="37" y="22"/>
                    <a:pt x="3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1" name="任意多边形: 形状 590">
              <a:extLst>
                <a:ext uri="{FF2B5EF4-FFF2-40B4-BE49-F238E27FC236}">
                  <a16:creationId xmlns:a16="http://schemas.microsoft.com/office/drawing/2014/main" id="{EAA84231-95F4-4D21-9DF5-2B2402032451}"/>
                </a:ext>
              </a:extLst>
            </p:cNvPr>
            <p:cNvSpPr/>
            <p:nvPr/>
          </p:nvSpPr>
          <p:spPr bwMode="auto">
            <a:xfrm>
              <a:off x="6400445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0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0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2" name="任意多边形: 形状 591">
              <a:extLst>
                <a:ext uri="{FF2B5EF4-FFF2-40B4-BE49-F238E27FC236}">
                  <a16:creationId xmlns:a16="http://schemas.microsoft.com/office/drawing/2014/main" id="{FDC31FBB-A898-4375-AA9C-7EC5B5FF108A}"/>
                </a:ext>
              </a:extLst>
            </p:cNvPr>
            <p:cNvSpPr/>
            <p:nvPr/>
          </p:nvSpPr>
          <p:spPr bwMode="auto">
            <a:xfrm>
              <a:off x="6560911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8 w 38"/>
                <a:gd name="T3" fmla="*/ 0 h 28"/>
                <a:gd name="T4" fmla="*/ 1 w 38"/>
                <a:gd name="T5" fmla="*/ 14 h 28"/>
                <a:gd name="T6" fmla="*/ 21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0" y="28"/>
                    <a:pt x="21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3" name="任意多边形: 形状 592">
              <a:extLst>
                <a:ext uri="{FF2B5EF4-FFF2-40B4-BE49-F238E27FC236}">
                  <a16:creationId xmlns:a16="http://schemas.microsoft.com/office/drawing/2014/main" id="{005B9192-78E7-46A7-9576-DF4D77E3B69A}"/>
                </a:ext>
              </a:extLst>
            </p:cNvPr>
            <p:cNvSpPr/>
            <p:nvPr/>
          </p:nvSpPr>
          <p:spPr bwMode="auto">
            <a:xfrm>
              <a:off x="6726006" y="3803849"/>
              <a:ext cx="138865" cy="101834"/>
            </a:xfrm>
            <a:custGeom>
              <a:avLst/>
              <a:gdLst>
                <a:gd name="T0" fmla="*/ 37 w 38"/>
                <a:gd name="T1" fmla="*/ 14 h 28"/>
                <a:gd name="T2" fmla="*/ 17 w 38"/>
                <a:gd name="T3" fmla="*/ 0 h 28"/>
                <a:gd name="T4" fmla="*/ 1 w 38"/>
                <a:gd name="T5" fmla="*/ 14 h 28"/>
                <a:gd name="T6" fmla="*/ 20 w 38"/>
                <a:gd name="T7" fmla="*/ 28 h 28"/>
                <a:gd name="T8" fmla="*/ 37 w 38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8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1" y="14"/>
                  </a:cubicBezTo>
                  <a:cubicBezTo>
                    <a:pt x="1" y="22"/>
                    <a:pt x="10" y="28"/>
                    <a:pt x="20" y="28"/>
                  </a:cubicBezTo>
                  <a:cubicBezTo>
                    <a:pt x="31" y="28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4" name="任意多边形: 形状 593">
              <a:extLst>
                <a:ext uri="{FF2B5EF4-FFF2-40B4-BE49-F238E27FC236}">
                  <a16:creationId xmlns:a16="http://schemas.microsoft.com/office/drawing/2014/main" id="{E72EFA12-9D97-499E-A42E-5F0BD20D0D0C}"/>
                </a:ext>
              </a:extLst>
            </p:cNvPr>
            <p:cNvSpPr/>
            <p:nvPr/>
          </p:nvSpPr>
          <p:spPr bwMode="auto">
            <a:xfrm>
              <a:off x="5915960" y="3931914"/>
              <a:ext cx="134237" cy="104920"/>
            </a:xfrm>
            <a:custGeom>
              <a:avLst/>
              <a:gdLst>
                <a:gd name="T0" fmla="*/ 37 w 37"/>
                <a:gd name="T1" fmla="*/ 14 h 29"/>
                <a:gd name="T2" fmla="*/ 18 w 37"/>
                <a:gd name="T3" fmla="*/ 0 h 29"/>
                <a:gd name="T4" fmla="*/ 0 w 37"/>
                <a:gd name="T5" fmla="*/ 14 h 29"/>
                <a:gd name="T6" fmla="*/ 19 w 37"/>
                <a:gd name="T7" fmla="*/ 29 h 29"/>
                <a:gd name="T8" fmla="*/ 37 w 37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7" y="14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0" y="22"/>
                    <a:pt x="9" y="29"/>
                    <a:pt x="19" y="29"/>
                  </a:cubicBezTo>
                  <a:cubicBezTo>
                    <a:pt x="29" y="29"/>
                    <a:pt x="37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5" name="任意多边形: 形状 594">
              <a:extLst>
                <a:ext uri="{FF2B5EF4-FFF2-40B4-BE49-F238E27FC236}">
                  <a16:creationId xmlns:a16="http://schemas.microsoft.com/office/drawing/2014/main" id="{B386E68B-7884-437C-AB95-60F540F45BE1}"/>
                </a:ext>
              </a:extLst>
            </p:cNvPr>
            <p:cNvSpPr/>
            <p:nvPr/>
          </p:nvSpPr>
          <p:spPr bwMode="auto">
            <a:xfrm>
              <a:off x="6079512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8 w 38"/>
                <a:gd name="T3" fmla="*/ 0 h 29"/>
                <a:gd name="T4" fmla="*/ 0 w 38"/>
                <a:gd name="T5" fmla="*/ 14 h 29"/>
                <a:gd name="T6" fmla="*/ 19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4"/>
                  </a:cubicBezTo>
                  <a:cubicBezTo>
                    <a:pt x="1" y="22"/>
                    <a:pt x="9" y="29"/>
                    <a:pt x="19" y="29"/>
                  </a:cubicBezTo>
                  <a:cubicBezTo>
                    <a:pt x="30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6" name="任意多边形: 形状 595">
              <a:extLst>
                <a:ext uri="{FF2B5EF4-FFF2-40B4-BE49-F238E27FC236}">
                  <a16:creationId xmlns:a16="http://schemas.microsoft.com/office/drawing/2014/main" id="{92843C91-8EEC-4417-BBE2-0E5B27B65E21}"/>
                </a:ext>
              </a:extLst>
            </p:cNvPr>
            <p:cNvSpPr/>
            <p:nvPr/>
          </p:nvSpPr>
          <p:spPr bwMode="auto">
            <a:xfrm>
              <a:off x="6244607" y="3931914"/>
              <a:ext cx="138865" cy="104920"/>
            </a:xfrm>
            <a:custGeom>
              <a:avLst/>
              <a:gdLst>
                <a:gd name="T0" fmla="*/ 38 w 38"/>
                <a:gd name="T1" fmla="*/ 14 h 29"/>
                <a:gd name="T2" fmla="*/ 18 w 38"/>
                <a:gd name="T3" fmla="*/ 0 h 29"/>
                <a:gd name="T4" fmla="*/ 1 w 38"/>
                <a:gd name="T5" fmla="*/ 14 h 29"/>
                <a:gd name="T6" fmla="*/ 20 w 38"/>
                <a:gd name="T7" fmla="*/ 29 h 29"/>
                <a:gd name="T8" fmla="*/ 38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0" y="29"/>
                  </a:cubicBezTo>
                  <a:cubicBezTo>
                    <a:pt x="30" y="29"/>
                    <a:pt x="38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7" name="任意多边形: 形状 596">
              <a:extLst>
                <a:ext uri="{FF2B5EF4-FFF2-40B4-BE49-F238E27FC236}">
                  <a16:creationId xmlns:a16="http://schemas.microsoft.com/office/drawing/2014/main" id="{BB6AB67D-24D2-47B9-84AB-A6D9A6C876B0}"/>
                </a:ext>
              </a:extLst>
            </p:cNvPr>
            <p:cNvSpPr/>
            <p:nvPr/>
          </p:nvSpPr>
          <p:spPr bwMode="auto">
            <a:xfrm>
              <a:off x="6408159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8" name="任意多边形: 形状 597">
              <a:extLst>
                <a:ext uri="{FF2B5EF4-FFF2-40B4-BE49-F238E27FC236}">
                  <a16:creationId xmlns:a16="http://schemas.microsoft.com/office/drawing/2014/main" id="{9C65C2DA-B996-4682-9773-331346B528BE}"/>
                </a:ext>
              </a:extLst>
            </p:cNvPr>
            <p:cNvSpPr/>
            <p:nvPr/>
          </p:nvSpPr>
          <p:spPr bwMode="auto">
            <a:xfrm>
              <a:off x="6573255" y="3931914"/>
              <a:ext cx="141951" cy="104920"/>
            </a:xfrm>
            <a:custGeom>
              <a:avLst/>
              <a:gdLst>
                <a:gd name="T0" fmla="*/ 38 w 39"/>
                <a:gd name="T1" fmla="*/ 14 h 29"/>
                <a:gd name="T2" fmla="*/ 18 w 39"/>
                <a:gd name="T3" fmla="*/ 0 h 29"/>
                <a:gd name="T4" fmla="*/ 1 w 39"/>
                <a:gd name="T5" fmla="*/ 14 h 29"/>
                <a:gd name="T6" fmla="*/ 21 w 39"/>
                <a:gd name="T7" fmla="*/ 29 h 29"/>
                <a:gd name="T8" fmla="*/ 38 w 39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9">
                  <a:moveTo>
                    <a:pt x="38" y="14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1" y="14"/>
                  </a:cubicBezTo>
                  <a:cubicBezTo>
                    <a:pt x="2" y="22"/>
                    <a:pt x="11" y="29"/>
                    <a:pt x="21" y="29"/>
                  </a:cubicBezTo>
                  <a:cubicBezTo>
                    <a:pt x="31" y="29"/>
                    <a:pt x="39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9" name="任意多边形: 形状 598">
              <a:extLst>
                <a:ext uri="{FF2B5EF4-FFF2-40B4-BE49-F238E27FC236}">
                  <a16:creationId xmlns:a16="http://schemas.microsoft.com/office/drawing/2014/main" id="{304C75E2-1EE7-4F93-890C-BA92EFAFC3DE}"/>
                </a:ext>
              </a:extLst>
            </p:cNvPr>
            <p:cNvSpPr/>
            <p:nvPr/>
          </p:nvSpPr>
          <p:spPr bwMode="auto">
            <a:xfrm>
              <a:off x="6739893" y="3931914"/>
              <a:ext cx="138865" cy="104920"/>
            </a:xfrm>
            <a:custGeom>
              <a:avLst/>
              <a:gdLst>
                <a:gd name="T0" fmla="*/ 37 w 38"/>
                <a:gd name="T1" fmla="*/ 14 h 29"/>
                <a:gd name="T2" fmla="*/ 17 w 38"/>
                <a:gd name="T3" fmla="*/ 0 h 29"/>
                <a:gd name="T4" fmla="*/ 0 w 38"/>
                <a:gd name="T5" fmla="*/ 14 h 29"/>
                <a:gd name="T6" fmla="*/ 21 w 38"/>
                <a:gd name="T7" fmla="*/ 29 h 29"/>
                <a:gd name="T8" fmla="*/ 37 w 38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9">
                  <a:moveTo>
                    <a:pt x="37" y="14"/>
                  </a:moveTo>
                  <a:cubicBezTo>
                    <a:pt x="36" y="6"/>
                    <a:pt x="27" y="0"/>
                    <a:pt x="17" y="0"/>
                  </a:cubicBezTo>
                  <a:cubicBezTo>
                    <a:pt x="7" y="0"/>
                    <a:pt x="0" y="6"/>
                    <a:pt x="0" y="14"/>
                  </a:cubicBezTo>
                  <a:cubicBezTo>
                    <a:pt x="1" y="22"/>
                    <a:pt x="10" y="29"/>
                    <a:pt x="21" y="29"/>
                  </a:cubicBezTo>
                  <a:cubicBezTo>
                    <a:pt x="31" y="29"/>
                    <a:pt x="38" y="22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0" name="椭圆 599">
              <a:extLst>
                <a:ext uri="{FF2B5EF4-FFF2-40B4-BE49-F238E27FC236}">
                  <a16:creationId xmlns:a16="http://schemas.microsoft.com/office/drawing/2014/main" id="{E02AA2D9-B393-4D66-B984-D39210BE1F2F}"/>
                </a:ext>
              </a:extLst>
            </p:cNvPr>
            <p:cNvSpPr/>
            <p:nvPr/>
          </p:nvSpPr>
          <p:spPr bwMode="auto">
            <a:xfrm>
              <a:off x="5750864" y="4063064"/>
              <a:ext cx="135779" cy="109550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1" name="任意多边形: 形状 600">
              <a:extLst>
                <a:ext uri="{FF2B5EF4-FFF2-40B4-BE49-F238E27FC236}">
                  <a16:creationId xmlns:a16="http://schemas.microsoft.com/office/drawing/2014/main" id="{7BC22CCA-472E-40A7-8D3E-B88BB33B012D}"/>
                </a:ext>
              </a:extLst>
            </p:cNvPr>
            <p:cNvSpPr/>
            <p:nvPr/>
          </p:nvSpPr>
          <p:spPr bwMode="auto">
            <a:xfrm>
              <a:off x="591596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9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2" name="任意多边形: 形状 601">
              <a:extLst>
                <a:ext uri="{FF2B5EF4-FFF2-40B4-BE49-F238E27FC236}">
                  <a16:creationId xmlns:a16="http://schemas.microsoft.com/office/drawing/2014/main" id="{B8D6451D-0322-4CBC-8833-F3352D5B5B19}"/>
                </a:ext>
              </a:extLst>
            </p:cNvPr>
            <p:cNvSpPr/>
            <p:nvPr/>
          </p:nvSpPr>
          <p:spPr bwMode="auto">
            <a:xfrm>
              <a:off x="6084140" y="4063064"/>
              <a:ext cx="138865" cy="109550"/>
            </a:xfrm>
            <a:custGeom>
              <a:avLst/>
              <a:gdLst>
                <a:gd name="T0" fmla="*/ 38 w 38"/>
                <a:gd name="T1" fmla="*/ 15 h 30"/>
                <a:gd name="T2" fmla="*/ 19 w 38"/>
                <a:gd name="T3" fmla="*/ 0 h 30"/>
                <a:gd name="T4" fmla="*/ 1 w 38"/>
                <a:gd name="T5" fmla="*/ 15 h 30"/>
                <a:gd name="T6" fmla="*/ 20 w 38"/>
                <a:gd name="T7" fmla="*/ 30 h 30"/>
                <a:gd name="T8" fmla="*/ 38 w 38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38" y="15"/>
                  </a:moveTo>
                  <a:cubicBezTo>
                    <a:pt x="38" y="6"/>
                    <a:pt x="29" y="0"/>
                    <a:pt x="19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1" y="23"/>
                    <a:pt x="9" y="30"/>
                    <a:pt x="20" y="30"/>
                  </a:cubicBezTo>
                  <a:cubicBezTo>
                    <a:pt x="30" y="30"/>
                    <a:pt x="38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3" name="任意多边形: 形状 602">
              <a:extLst>
                <a:ext uri="{FF2B5EF4-FFF2-40B4-BE49-F238E27FC236}">
                  <a16:creationId xmlns:a16="http://schemas.microsoft.com/office/drawing/2014/main" id="{AE153C59-908E-49DB-85A6-EB3CB61FF105}"/>
                </a:ext>
              </a:extLst>
            </p:cNvPr>
            <p:cNvSpPr/>
            <p:nvPr/>
          </p:nvSpPr>
          <p:spPr bwMode="auto">
            <a:xfrm>
              <a:off x="6250779" y="4063064"/>
              <a:ext cx="143495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9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4" name="任意多边形: 形状 603">
              <a:extLst>
                <a:ext uri="{FF2B5EF4-FFF2-40B4-BE49-F238E27FC236}">
                  <a16:creationId xmlns:a16="http://schemas.microsoft.com/office/drawing/2014/main" id="{8C7AB044-3ABA-4211-B68C-C61F2D40B823}"/>
                </a:ext>
              </a:extLst>
            </p:cNvPr>
            <p:cNvSpPr/>
            <p:nvPr/>
          </p:nvSpPr>
          <p:spPr bwMode="auto">
            <a:xfrm>
              <a:off x="6418960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0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8" y="0"/>
                    <a:pt x="0" y="6"/>
                    <a:pt x="0" y="15"/>
                  </a:cubicBezTo>
                  <a:cubicBezTo>
                    <a:pt x="1" y="23"/>
                    <a:pt x="10" y="30"/>
                    <a:pt x="20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5" name="任意多边形: 形状 604">
              <a:extLst>
                <a:ext uri="{FF2B5EF4-FFF2-40B4-BE49-F238E27FC236}">
                  <a16:creationId xmlns:a16="http://schemas.microsoft.com/office/drawing/2014/main" id="{22822322-0A0C-4D2D-AD59-02651ED119B8}"/>
                </a:ext>
              </a:extLst>
            </p:cNvPr>
            <p:cNvSpPr/>
            <p:nvPr/>
          </p:nvSpPr>
          <p:spPr bwMode="auto">
            <a:xfrm>
              <a:off x="6587141" y="4063064"/>
              <a:ext cx="141951" cy="109550"/>
            </a:xfrm>
            <a:custGeom>
              <a:avLst/>
              <a:gdLst>
                <a:gd name="T0" fmla="*/ 38 w 39"/>
                <a:gd name="T1" fmla="*/ 15 h 30"/>
                <a:gd name="T2" fmla="*/ 18 w 39"/>
                <a:gd name="T3" fmla="*/ 0 h 30"/>
                <a:gd name="T4" fmla="*/ 0 w 39"/>
                <a:gd name="T5" fmla="*/ 15 h 30"/>
                <a:gd name="T6" fmla="*/ 21 w 39"/>
                <a:gd name="T7" fmla="*/ 30 h 30"/>
                <a:gd name="T8" fmla="*/ 38 w 39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0">
                  <a:moveTo>
                    <a:pt x="38" y="15"/>
                  </a:moveTo>
                  <a:cubicBezTo>
                    <a:pt x="37" y="6"/>
                    <a:pt x="28" y="0"/>
                    <a:pt x="18" y="0"/>
                  </a:cubicBezTo>
                  <a:cubicBezTo>
                    <a:pt x="7" y="0"/>
                    <a:pt x="0" y="6"/>
                    <a:pt x="0" y="15"/>
                  </a:cubicBezTo>
                  <a:cubicBezTo>
                    <a:pt x="1" y="23"/>
                    <a:pt x="10" y="30"/>
                    <a:pt x="21" y="30"/>
                  </a:cubicBezTo>
                  <a:cubicBezTo>
                    <a:pt x="31" y="30"/>
                    <a:pt x="39" y="23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6" name="任意多边形: 形状 605">
              <a:extLst>
                <a:ext uri="{FF2B5EF4-FFF2-40B4-BE49-F238E27FC236}">
                  <a16:creationId xmlns:a16="http://schemas.microsoft.com/office/drawing/2014/main" id="{03FE7604-74A6-4CB3-87C1-6F1A842881F4}"/>
                </a:ext>
              </a:extLst>
            </p:cNvPr>
            <p:cNvSpPr/>
            <p:nvPr/>
          </p:nvSpPr>
          <p:spPr bwMode="auto">
            <a:xfrm>
              <a:off x="6750693" y="4063064"/>
              <a:ext cx="146580" cy="109550"/>
            </a:xfrm>
            <a:custGeom>
              <a:avLst/>
              <a:gdLst>
                <a:gd name="T0" fmla="*/ 39 w 40"/>
                <a:gd name="T1" fmla="*/ 15 h 30"/>
                <a:gd name="T2" fmla="*/ 18 w 40"/>
                <a:gd name="T3" fmla="*/ 0 h 30"/>
                <a:gd name="T4" fmla="*/ 1 w 40"/>
                <a:gd name="T5" fmla="*/ 15 h 30"/>
                <a:gd name="T6" fmla="*/ 22 w 40"/>
                <a:gd name="T7" fmla="*/ 30 h 30"/>
                <a:gd name="T8" fmla="*/ 39 w 40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0">
                  <a:moveTo>
                    <a:pt x="39" y="15"/>
                  </a:moveTo>
                  <a:cubicBezTo>
                    <a:pt x="38" y="6"/>
                    <a:pt x="29" y="0"/>
                    <a:pt x="18" y="0"/>
                  </a:cubicBezTo>
                  <a:cubicBezTo>
                    <a:pt x="8" y="0"/>
                    <a:pt x="0" y="6"/>
                    <a:pt x="1" y="15"/>
                  </a:cubicBezTo>
                  <a:cubicBezTo>
                    <a:pt x="2" y="23"/>
                    <a:pt x="11" y="30"/>
                    <a:pt x="22" y="30"/>
                  </a:cubicBezTo>
                  <a:cubicBezTo>
                    <a:pt x="32" y="30"/>
                    <a:pt x="40" y="23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7" name="任意多边形: 形状 606">
              <a:extLst>
                <a:ext uri="{FF2B5EF4-FFF2-40B4-BE49-F238E27FC236}">
                  <a16:creationId xmlns:a16="http://schemas.microsoft.com/office/drawing/2014/main" id="{4C775290-CDDD-4F4B-9318-1DF1FD6E01EC}"/>
                </a:ext>
              </a:extLst>
            </p:cNvPr>
            <p:cNvSpPr/>
            <p:nvPr/>
          </p:nvSpPr>
          <p:spPr bwMode="auto">
            <a:xfrm>
              <a:off x="5919046" y="4198843"/>
              <a:ext cx="138865" cy="112636"/>
            </a:xfrm>
            <a:custGeom>
              <a:avLst/>
              <a:gdLst>
                <a:gd name="T0" fmla="*/ 38 w 38"/>
                <a:gd name="T1" fmla="*/ 15 h 31"/>
                <a:gd name="T2" fmla="*/ 19 w 38"/>
                <a:gd name="T3" fmla="*/ 0 h 31"/>
                <a:gd name="T4" fmla="*/ 0 w 38"/>
                <a:gd name="T5" fmla="*/ 15 h 31"/>
                <a:gd name="T6" fmla="*/ 19 w 38"/>
                <a:gd name="T7" fmla="*/ 31 h 31"/>
                <a:gd name="T8" fmla="*/ 38 w 3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1">
                  <a:moveTo>
                    <a:pt x="38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0" y="24"/>
                    <a:pt x="9" y="31"/>
                    <a:pt x="19" y="31"/>
                  </a:cubicBezTo>
                  <a:cubicBezTo>
                    <a:pt x="30" y="31"/>
                    <a:pt x="38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8" name="任意多边形: 形状 607">
              <a:extLst>
                <a:ext uri="{FF2B5EF4-FFF2-40B4-BE49-F238E27FC236}">
                  <a16:creationId xmlns:a16="http://schemas.microsoft.com/office/drawing/2014/main" id="{41E66843-DA68-48A7-AD48-EAA49E5190FB}"/>
                </a:ext>
              </a:extLst>
            </p:cNvPr>
            <p:cNvSpPr/>
            <p:nvPr/>
          </p:nvSpPr>
          <p:spPr bwMode="auto">
            <a:xfrm>
              <a:off x="6087226" y="4198843"/>
              <a:ext cx="141951" cy="112636"/>
            </a:xfrm>
            <a:custGeom>
              <a:avLst/>
              <a:gdLst>
                <a:gd name="T0" fmla="*/ 39 w 39"/>
                <a:gd name="T1" fmla="*/ 15 h 31"/>
                <a:gd name="T2" fmla="*/ 19 w 39"/>
                <a:gd name="T3" fmla="*/ 0 h 31"/>
                <a:gd name="T4" fmla="*/ 1 w 39"/>
                <a:gd name="T5" fmla="*/ 15 h 31"/>
                <a:gd name="T6" fmla="*/ 20 w 39"/>
                <a:gd name="T7" fmla="*/ 31 h 31"/>
                <a:gd name="T8" fmla="*/ 39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9" y="15"/>
                  </a:moveTo>
                  <a:cubicBezTo>
                    <a:pt x="38" y="7"/>
                    <a:pt x="30" y="0"/>
                    <a:pt x="19" y="0"/>
                  </a:cubicBezTo>
                  <a:cubicBezTo>
                    <a:pt x="9" y="0"/>
                    <a:pt x="0" y="7"/>
                    <a:pt x="1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9" name="任意多边形: 形状 608">
              <a:extLst>
                <a:ext uri="{FF2B5EF4-FFF2-40B4-BE49-F238E27FC236}">
                  <a16:creationId xmlns:a16="http://schemas.microsoft.com/office/drawing/2014/main" id="{61AC2408-1E59-4DF4-8C23-B0B39DC3053E}"/>
                </a:ext>
              </a:extLst>
            </p:cNvPr>
            <p:cNvSpPr/>
            <p:nvPr/>
          </p:nvSpPr>
          <p:spPr bwMode="auto">
            <a:xfrm>
              <a:off x="6258494" y="4198843"/>
              <a:ext cx="141951" cy="112636"/>
            </a:xfrm>
            <a:custGeom>
              <a:avLst/>
              <a:gdLst>
                <a:gd name="T0" fmla="*/ 38 w 39"/>
                <a:gd name="T1" fmla="*/ 15 h 31"/>
                <a:gd name="T2" fmla="*/ 18 w 39"/>
                <a:gd name="T3" fmla="*/ 0 h 31"/>
                <a:gd name="T4" fmla="*/ 0 w 39"/>
                <a:gd name="T5" fmla="*/ 15 h 31"/>
                <a:gd name="T6" fmla="*/ 20 w 39"/>
                <a:gd name="T7" fmla="*/ 31 h 31"/>
                <a:gd name="T8" fmla="*/ 38 w 39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1">
                  <a:moveTo>
                    <a:pt x="38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0" y="15"/>
                  </a:cubicBezTo>
                  <a:cubicBezTo>
                    <a:pt x="1" y="24"/>
                    <a:pt x="10" y="31"/>
                    <a:pt x="20" y="31"/>
                  </a:cubicBezTo>
                  <a:cubicBezTo>
                    <a:pt x="31" y="31"/>
                    <a:pt x="39" y="24"/>
                    <a:pt x="38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0" name="任意多边形: 形状 609">
              <a:extLst>
                <a:ext uri="{FF2B5EF4-FFF2-40B4-BE49-F238E27FC236}">
                  <a16:creationId xmlns:a16="http://schemas.microsoft.com/office/drawing/2014/main" id="{601C7E75-E8AC-4328-90F2-EB2B1D33AC52}"/>
                </a:ext>
              </a:extLst>
            </p:cNvPr>
            <p:cNvSpPr/>
            <p:nvPr/>
          </p:nvSpPr>
          <p:spPr bwMode="auto">
            <a:xfrm>
              <a:off x="6426674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9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2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1" name="任意多边形: 形状 610">
              <a:extLst>
                <a:ext uri="{FF2B5EF4-FFF2-40B4-BE49-F238E27FC236}">
                  <a16:creationId xmlns:a16="http://schemas.microsoft.com/office/drawing/2014/main" id="{A98A4F22-7577-409F-B9D2-3615E7692116}"/>
                </a:ext>
              </a:extLst>
            </p:cNvPr>
            <p:cNvSpPr/>
            <p:nvPr/>
          </p:nvSpPr>
          <p:spPr bwMode="auto">
            <a:xfrm>
              <a:off x="6597942" y="4198843"/>
              <a:ext cx="146580" cy="112636"/>
            </a:xfrm>
            <a:custGeom>
              <a:avLst/>
              <a:gdLst>
                <a:gd name="T0" fmla="*/ 39 w 40"/>
                <a:gd name="T1" fmla="*/ 15 h 31"/>
                <a:gd name="T2" fmla="*/ 18 w 40"/>
                <a:gd name="T3" fmla="*/ 0 h 31"/>
                <a:gd name="T4" fmla="*/ 1 w 40"/>
                <a:gd name="T5" fmla="*/ 15 h 31"/>
                <a:gd name="T6" fmla="*/ 21 w 40"/>
                <a:gd name="T7" fmla="*/ 31 h 31"/>
                <a:gd name="T8" fmla="*/ 39 w 4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1">
                  <a:moveTo>
                    <a:pt x="39" y="15"/>
                  </a:moveTo>
                  <a:cubicBezTo>
                    <a:pt x="38" y="7"/>
                    <a:pt x="29" y="0"/>
                    <a:pt x="18" y="0"/>
                  </a:cubicBezTo>
                  <a:cubicBezTo>
                    <a:pt x="8" y="0"/>
                    <a:pt x="0" y="7"/>
                    <a:pt x="1" y="15"/>
                  </a:cubicBezTo>
                  <a:cubicBezTo>
                    <a:pt x="1" y="24"/>
                    <a:pt x="11" y="31"/>
                    <a:pt x="21" y="31"/>
                  </a:cubicBezTo>
                  <a:cubicBezTo>
                    <a:pt x="32" y="31"/>
                    <a:pt x="40" y="24"/>
                    <a:pt x="39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2" name="任意多边形: 形状 611">
              <a:extLst>
                <a:ext uri="{FF2B5EF4-FFF2-40B4-BE49-F238E27FC236}">
                  <a16:creationId xmlns:a16="http://schemas.microsoft.com/office/drawing/2014/main" id="{B0A37349-A6C0-42AD-B5B1-58E8B7151670}"/>
                </a:ext>
              </a:extLst>
            </p:cNvPr>
            <p:cNvSpPr/>
            <p:nvPr/>
          </p:nvSpPr>
          <p:spPr bwMode="auto">
            <a:xfrm>
              <a:off x="5919046" y="4337708"/>
              <a:ext cx="143495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9" y="7"/>
                    <a:pt x="30" y="0"/>
                    <a:pt x="19" y="0"/>
                  </a:cubicBezTo>
                  <a:cubicBezTo>
                    <a:pt x="9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3" name="任意多边形: 形状 612">
              <a:extLst>
                <a:ext uri="{FF2B5EF4-FFF2-40B4-BE49-F238E27FC236}">
                  <a16:creationId xmlns:a16="http://schemas.microsoft.com/office/drawing/2014/main" id="{DDB20DBA-2254-48CB-8648-6BCA00325285}"/>
                </a:ext>
              </a:extLst>
            </p:cNvPr>
            <p:cNvSpPr/>
            <p:nvPr/>
          </p:nvSpPr>
          <p:spPr bwMode="auto">
            <a:xfrm>
              <a:off x="6094941" y="4337708"/>
              <a:ext cx="141951" cy="115721"/>
            </a:xfrm>
            <a:custGeom>
              <a:avLst/>
              <a:gdLst>
                <a:gd name="T0" fmla="*/ 39 w 39"/>
                <a:gd name="T1" fmla="*/ 16 h 32"/>
                <a:gd name="T2" fmla="*/ 19 w 39"/>
                <a:gd name="T3" fmla="*/ 0 h 32"/>
                <a:gd name="T4" fmla="*/ 0 w 39"/>
                <a:gd name="T5" fmla="*/ 16 h 32"/>
                <a:gd name="T6" fmla="*/ 20 w 39"/>
                <a:gd name="T7" fmla="*/ 32 h 32"/>
                <a:gd name="T8" fmla="*/ 39 w 3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0" y="25"/>
                    <a:pt x="9" y="32"/>
                    <a:pt x="20" y="32"/>
                  </a:cubicBezTo>
                  <a:cubicBezTo>
                    <a:pt x="31" y="32"/>
                    <a:pt x="39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4" name="任意多边形: 形状 613">
              <a:extLst>
                <a:ext uri="{FF2B5EF4-FFF2-40B4-BE49-F238E27FC236}">
                  <a16:creationId xmlns:a16="http://schemas.microsoft.com/office/drawing/2014/main" id="{02954F6D-9C3C-44BB-85CB-232CD876F5E3}"/>
                </a:ext>
              </a:extLst>
            </p:cNvPr>
            <p:cNvSpPr/>
            <p:nvPr/>
          </p:nvSpPr>
          <p:spPr bwMode="auto">
            <a:xfrm>
              <a:off x="6266208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0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8" y="7"/>
                    <a:pt x="29" y="0"/>
                    <a:pt x="19" y="0"/>
                  </a:cubicBezTo>
                  <a:cubicBezTo>
                    <a:pt x="8" y="0"/>
                    <a:pt x="0" y="7"/>
                    <a:pt x="0" y="16"/>
                  </a:cubicBezTo>
                  <a:cubicBezTo>
                    <a:pt x="1" y="25"/>
                    <a:pt x="10" y="32"/>
                    <a:pt x="21" y="32"/>
                  </a:cubicBezTo>
                  <a:cubicBezTo>
                    <a:pt x="31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9811395D-39A5-4ED7-9C33-F52C75577E4C}"/>
                </a:ext>
              </a:extLst>
            </p:cNvPr>
            <p:cNvSpPr/>
            <p:nvPr/>
          </p:nvSpPr>
          <p:spPr bwMode="auto">
            <a:xfrm>
              <a:off x="6437476" y="4337708"/>
              <a:ext cx="146580" cy="115721"/>
            </a:xfrm>
            <a:custGeom>
              <a:avLst/>
              <a:gdLst>
                <a:gd name="T0" fmla="*/ 39 w 40"/>
                <a:gd name="T1" fmla="*/ 16 h 32"/>
                <a:gd name="T2" fmla="*/ 19 w 40"/>
                <a:gd name="T3" fmla="*/ 0 h 32"/>
                <a:gd name="T4" fmla="*/ 1 w 40"/>
                <a:gd name="T5" fmla="*/ 16 h 32"/>
                <a:gd name="T6" fmla="*/ 21 w 40"/>
                <a:gd name="T7" fmla="*/ 32 h 32"/>
                <a:gd name="T8" fmla="*/ 39 w 40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39" y="16"/>
                  </a:moveTo>
                  <a:cubicBezTo>
                    <a:pt x="39" y="7"/>
                    <a:pt x="29" y="0"/>
                    <a:pt x="19" y="0"/>
                  </a:cubicBezTo>
                  <a:cubicBezTo>
                    <a:pt x="8" y="0"/>
                    <a:pt x="0" y="7"/>
                    <a:pt x="1" y="16"/>
                  </a:cubicBezTo>
                  <a:cubicBezTo>
                    <a:pt x="1" y="25"/>
                    <a:pt x="11" y="32"/>
                    <a:pt x="21" y="32"/>
                  </a:cubicBezTo>
                  <a:cubicBezTo>
                    <a:pt x="32" y="32"/>
                    <a:pt x="40" y="25"/>
                    <a:pt x="39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806DF665-1260-4C61-8B00-346F2CC480EB}"/>
                </a:ext>
              </a:extLst>
            </p:cNvPr>
            <p:cNvSpPr/>
            <p:nvPr/>
          </p:nvSpPr>
          <p:spPr bwMode="auto">
            <a:xfrm>
              <a:off x="5923674" y="4479659"/>
              <a:ext cx="141951" cy="123436"/>
            </a:xfrm>
            <a:custGeom>
              <a:avLst/>
              <a:gdLst>
                <a:gd name="T0" fmla="*/ 39 w 39"/>
                <a:gd name="T1" fmla="*/ 17 h 34"/>
                <a:gd name="T2" fmla="*/ 19 w 39"/>
                <a:gd name="T3" fmla="*/ 0 h 34"/>
                <a:gd name="T4" fmla="*/ 0 w 39"/>
                <a:gd name="T5" fmla="*/ 17 h 34"/>
                <a:gd name="T6" fmla="*/ 20 w 39"/>
                <a:gd name="T7" fmla="*/ 34 h 34"/>
                <a:gd name="T8" fmla="*/ 39 w 3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39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0711F9B0-42DD-4F9B-A07A-7B29891AD494}"/>
                </a:ext>
              </a:extLst>
            </p:cNvPr>
            <p:cNvSpPr/>
            <p:nvPr/>
          </p:nvSpPr>
          <p:spPr bwMode="auto">
            <a:xfrm>
              <a:off x="6098027" y="4479659"/>
              <a:ext cx="146580" cy="123436"/>
            </a:xfrm>
            <a:custGeom>
              <a:avLst/>
              <a:gdLst>
                <a:gd name="T0" fmla="*/ 39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0 w 40"/>
                <a:gd name="T7" fmla="*/ 34 h 34"/>
                <a:gd name="T8" fmla="*/ 39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39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0" y="26"/>
                    <a:pt x="9" y="34"/>
                    <a:pt x="20" y="34"/>
                  </a:cubicBezTo>
                  <a:cubicBezTo>
                    <a:pt x="31" y="34"/>
                    <a:pt x="40" y="26"/>
                    <a:pt x="39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AECAB8F4-A36F-496F-822D-582007F0B5FA}"/>
                </a:ext>
              </a:extLst>
            </p:cNvPr>
            <p:cNvSpPr/>
            <p:nvPr/>
          </p:nvSpPr>
          <p:spPr bwMode="auto">
            <a:xfrm>
              <a:off x="6273923" y="4479659"/>
              <a:ext cx="145037" cy="123436"/>
            </a:xfrm>
            <a:custGeom>
              <a:avLst/>
              <a:gdLst>
                <a:gd name="T0" fmla="*/ 40 w 40"/>
                <a:gd name="T1" fmla="*/ 17 h 34"/>
                <a:gd name="T2" fmla="*/ 19 w 40"/>
                <a:gd name="T3" fmla="*/ 0 h 34"/>
                <a:gd name="T4" fmla="*/ 0 w 40"/>
                <a:gd name="T5" fmla="*/ 17 h 34"/>
                <a:gd name="T6" fmla="*/ 21 w 40"/>
                <a:gd name="T7" fmla="*/ 34 h 34"/>
                <a:gd name="T8" fmla="*/ 40 w 4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0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84EBF494-47F5-4068-BAE5-EBAC6A7C6E19}"/>
                </a:ext>
              </a:extLst>
            </p:cNvPr>
            <p:cNvSpPr/>
            <p:nvPr/>
          </p:nvSpPr>
          <p:spPr bwMode="auto">
            <a:xfrm>
              <a:off x="6448276" y="4479659"/>
              <a:ext cx="149666" cy="123436"/>
            </a:xfrm>
            <a:custGeom>
              <a:avLst/>
              <a:gdLst>
                <a:gd name="T0" fmla="*/ 40 w 41"/>
                <a:gd name="T1" fmla="*/ 17 h 34"/>
                <a:gd name="T2" fmla="*/ 19 w 41"/>
                <a:gd name="T3" fmla="*/ 0 h 34"/>
                <a:gd name="T4" fmla="*/ 0 w 41"/>
                <a:gd name="T5" fmla="*/ 17 h 34"/>
                <a:gd name="T6" fmla="*/ 21 w 41"/>
                <a:gd name="T7" fmla="*/ 34 h 34"/>
                <a:gd name="T8" fmla="*/ 40 w 4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4">
                  <a:moveTo>
                    <a:pt x="40" y="17"/>
                  </a:moveTo>
                  <a:cubicBezTo>
                    <a:pt x="39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6"/>
                    <a:pt x="10" y="34"/>
                    <a:pt x="21" y="34"/>
                  </a:cubicBezTo>
                  <a:cubicBezTo>
                    <a:pt x="32" y="34"/>
                    <a:pt x="41" y="26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719F8F15-8759-42A4-B819-CCEE6198B546}"/>
                </a:ext>
              </a:extLst>
            </p:cNvPr>
            <p:cNvSpPr/>
            <p:nvPr/>
          </p:nvSpPr>
          <p:spPr bwMode="auto">
            <a:xfrm>
              <a:off x="6102656" y="4629325"/>
              <a:ext cx="148123" cy="128065"/>
            </a:xfrm>
            <a:custGeom>
              <a:avLst/>
              <a:gdLst>
                <a:gd name="T0" fmla="*/ 40 w 41"/>
                <a:gd name="T1" fmla="*/ 17 h 35"/>
                <a:gd name="T2" fmla="*/ 20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1" y="0"/>
                    <a:pt x="20" y="0"/>
                  </a:cubicBezTo>
                  <a:cubicBezTo>
                    <a:pt x="9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477BB10A-215E-40EA-B401-F9FB41FD2C2C}"/>
                </a:ext>
              </a:extLst>
            </p:cNvPr>
            <p:cNvSpPr/>
            <p:nvPr/>
          </p:nvSpPr>
          <p:spPr bwMode="auto">
            <a:xfrm>
              <a:off x="6280095" y="4629325"/>
              <a:ext cx="149666" cy="128065"/>
            </a:xfrm>
            <a:custGeom>
              <a:avLst/>
              <a:gdLst>
                <a:gd name="T0" fmla="*/ 40 w 41"/>
                <a:gd name="T1" fmla="*/ 17 h 35"/>
                <a:gd name="T2" fmla="*/ 19 w 41"/>
                <a:gd name="T3" fmla="*/ 0 h 35"/>
                <a:gd name="T4" fmla="*/ 0 w 41"/>
                <a:gd name="T5" fmla="*/ 17 h 35"/>
                <a:gd name="T6" fmla="*/ 21 w 41"/>
                <a:gd name="T7" fmla="*/ 35 h 35"/>
                <a:gd name="T8" fmla="*/ 40 w 4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5">
                  <a:moveTo>
                    <a:pt x="40" y="17"/>
                  </a:moveTo>
                  <a:cubicBezTo>
                    <a:pt x="40" y="8"/>
                    <a:pt x="30" y="0"/>
                    <a:pt x="19" y="0"/>
                  </a:cubicBezTo>
                  <a:cubicBezTo>
                    <a:pt x="8" y="0"/>
                    <a:pt x="0" y="8"/>
                    <a:pt x="0" y="17"/>
                  </a:cubicBezTo>
                  <a:cubicBezTo>
                    <a:pt x="1" y="27"/>
                    <a:pt x="10" y="35"/>
                    <a:pt x="21" y="35"/>
                  </a:cubicBezTo>
                  <a:cubicBezTo>
                    <a:pt x="32" y="35"/>
                    <a:pt x="41" y="27"/>
                    <a:pt x="40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2" name="任意多边形: 形状 621">
              <a:extLst>
                <a:ext uri="{FF2B5EF4-FFF2-40B4-BE49-F238E27FC236}">
                  <a16:creationId xmlns:a16="http://schemas.microsoft.com/office/drawing/2014/main" id="{3A354320-7D62-487E-9367-237E20727127}"/>
                </a:ext>
              </a:extLst>
            </p:cNvPr>
            <p:cNvSpPr/>
            <p:nvPr/>
          </p:nvSpPr>
          <p:spPr bwMode="auto">
            <a:xfrm>
              <a:off x="9524911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14 w 40"/>
                <a:gd name="T3" fmla="*/ 0 h 24"/>
                <a:gd name="T4" fmla="*/ 3 w 40"/>
                <a:gd name="T5" fmla="*/ 12 h 24"/>
                <a:gd name="T6" fmla="*/ 26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33" y="5"/>
                    <a:pt x="23" y="0"/>
                    <a:pt x="14" y="0"/>
                  </a:cubicBezTo>
                  <a:cubicBezTo>
                    <a:pt x="4" y="0"/>
                    <a:pt x="0" y="5"/>
                    <a:pt x="3" y="12"/>
                  </a:cubicBezTo>
                  <a:cubicBezTo>
                    <a:pt x="6" y="19"/>
                    <a:pt x="16" y="24"/>
                    <a:pt x="26" y="24"/>
                  </a:cubicBezTo>
                  <a:cubicBezTo>
                    <a:pt x="35" y="24"/>
                    <a:pt x="40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3" name="任意多边形: 形状 622">
              <a:extLst>
                <a:ext uri="{FF2B5EF4-FFF2-40B4-BE49-F238E27FC236}">
                  <a16:creationId xmlns:a16="http://schemas.microsoft.com/office/drawing/2014/main" id="{5F2A0772-D719-4705-8C19-42B6BAB621B2}"/>
                </a:ext>
              </a:extLst>
            </p:cNvPr>
            <p:cNvSpPr/>
            <p:nvPr/>
          </p:nvSpPr>
          <p:spPr bwMode="auto">
            <a:xfrm>
              <a:off x="9575829" y="3331707"/>
              <a:ext cx="149666" cy="91034"/>
            </a:xfrm>
            <a:custGeom>
              <a:avLst/>
              <a:gdLst>
                <a:gd name="T0" fmla="*/ 38 w 41"/>
                <a:gd name="T1" fmla="*/ 12 h 25"/>
                <a:gd name="T2" fmla="*/ 14 w 41"/>
                <a:gd name="T3" fmla="*/ 0 h 25"/>
                <a:gd name="T4" fmla="*/ 3 w 41"/>
                <a:gd name="T5" fmla="*/ 12 h 25"/>
                <a:gd name="T6" fmla="*/ 27 w 41"/>
                <a:gd name="T7" fmla="*/ 25 h 25"/>
                <a:gd name="T8" fmla="*/ 38 w 41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5">
                  <a:moveTo>
                    <a:pt x="38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7" y="19"/>
                    <a:pt x="17" y="25"/>
                    <a:pt x="27" y="25"/>
                  </a:cubicBezTo>
                  <a:cubicBezTo>
                    <a:pt x="36" y="25"/>
                    <a:pt x="41" y="19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4" name="任意多边形: 形状 623">
              <a:extLst>
                <a:ext uri="{FF2B5EF4-FFF2-40B4-BE49-F238E27FC236}">
                  <a16:creationId xmlns:a16="http://schemas.microsoft.com/office/drawing/2014/main" id="{A27CE88C-B4BB-48DD-BEF1-531F4B2645FF}"/>
                </a:ext>
              </a:extLst>
            </p:cNvPr>
            <p:cNvSpPr/>
            <p:nvPr/>
          </p:nvSpPr>
          <p:spPr bwMode="auto">
            <a:xfrm>
              <a:off x="9527997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4 w 42"/>
                <a:gd name="T5" fmla="*/ 14 h 27"/>
                <a:gd name="T6" fmla="*/ 28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1"/>
                    <a:pt x="18" y="27"/>
                    <a:pt x="28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5" name="任意多边形: 形状 624">
              <a:extLst>
                <a:ext uri="{FF2B5EF4-FFF2-40B4-BE49-F238E27FC236}">
                  <a16:creationId xmlns:a16="http://schemas.microsoft.com/office/drawing/2014/main" id="{BD526631-79EB-4CC2-AF86-450369233499}"/>
                </a:ext>
              </a:extLst>
            </p:cNvPr>
            <p:cNvSpPr/>
            <p:nvPr/>
          </p:nvSpPr>
          <p:spPr bwMode="auto">
            <a:xfrm>
              <a:off x="9480166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8" y="28"/>
                  </a:cubicBezTo>
                  <a:cubicBezTo>
                    <a:pt x="38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FAD4BCA2-2627-440D-BDAD-79975F48AD78}"/>
                </a:ext>
              </a:extLst>
            </p:cNvPr>
            <p:cNvSpPr/>
            <p:nvPr/>
          </p:nvSpPr>
          <p:spPr bwMode="auto">
            <a:xfrm>
              <a:off x="9802641" y="3803849"/>
              <a:ext cx="160466" cy="101834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29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19" y="28"/>
                    <a:pt x="29" y="28"/>
                  </a:cubicBezTo>
                  <a:cubicBezTo>
                    <a:pt x="39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88AE88F4-6329-4833-BA39-83615906DD93}"/>
                </a:ext>
              </a:extLst>
            </p:cNvPr>
            <p:cNvSpPr/>
            <p:nvPr/>
          </p:nvSpPr>
          <p:spPr bwMode="auto">
            <a:xfrm>
              <a:off x="10126660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5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86B8A2A0-E7F0-4283-8629-27E3B60C0838}"/>
                </a:ext>
              </a:extLst>
            </p:cNvPr>
            <p:cNvSpPr/>
            <p:nvPr/>
          </p:nvSpPr>
          <p:spPr bwMode="auto">
            <a:xfrm>
              <a:off x="854668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15 w 39"/>
                <a:gd name="T3" fmla="*/ 0 h 26"/>
                <a:gd name="T4" fmla="*/ 2 w 39"/>
                <a:gd name="T5" fmla="*/ 12 h 26"/>
                <a:gd name="T6" fmla="*/ 24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4" y="5"/>
                    <a:pt x="25" y="0"/>
                    <a:pt x="15" y="0"/>
                  </a:cubicBezTo>
                  <a:cubicBezTo>
                    <a:pt x="5" y="0"/>
                    <a:pt x="0" y="5"/>
                    <a:pt x="2" y="12"/>
                  </a:cubicBezTo>
                  <a:cubicBezTo>
                    <a:pt x="5" y="20"/>
                    <a:pt x="14" y="26"/>
                    <a:pt x="24" y="26"/>
                  </a:cubicBezTo>
                  <a:cubicBezTo>
                    <a:pt x="34" y="26"/>
                    <a:pt x="39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04772889-3D2F-4A99-8757-CD5993566BC0}"/>
                </a:ext>
              </a:extLst>
            </p:cNvPr>
            <p:cNvSpPr/>
            <p:nvPr/>
          </p:nvSpPr>
          <p:spPr bwMode="auto">
            <a:xfrm>
              <a:off x="9166947" y="3445885"/>
              <a:ext cx="146580" cy="94120"/>
            </a:xfrm>
            <a:custGeom>
              <a:avLst/>
              <a:gdLst>
                <a:gd name="T0" fmla="*/ 37 w 40"/>
                <a:gd name="T1" fmla="*/ 12 h 26"/>
                <a:gd name="T2" fmla="*/ 14 w 40"/>
                <a:gd name="T3" fmla="*/ 0 h 26"/>
                <a:gd name="T4" fmla="*/ 3 w 40"/>
                <a:gd name="T5" fmla="*/ 12 h 26"/>
                <a:gd name="T6" fmla="*/ 26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34" y="5"/>
                    <a:pt x="24" y="0"/>
                    <a:pt x="14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6" y="26"/>
                    <a:pt x="26" y="26"/>
                  </a:cubicBezTo>
                  <a:cubicBezTo>
                    <a:pt x="35" y="26"/>
                    <a:pt x="40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D440453B-9204-44B2-8594-DD9C481090B8}"/>
                </a:ext>
              </a:extLst>
            </p:cNvPr>
            <p:cNvSpPr/>
            <p:nvPr/>
          </p:nvSpPr>
          <p:spPr bwMode="auto">
            <a:xfrm>
              <a:off x="9319700" y="3445885"/>
              <a:ext cx="149666" cy="94120"/>
            </a:xfrm>
            <a:custGeom>
              <a:avLst/>
              <a:gdLst>
                <a:gd name="T0" fmla="*/ 38 w 41"/>
                <a:gd name="T1" fmla="*/ 12 h 26"/>
                <a:gd name="T2" fmla="*/ 15 w 41"/>
                <a:gd name="T3" fmla="*/ 0 h 26"/>
                <a:gd name="T4" fmla="*/ 3 w 41"/>
                <a:gd name="T5" fmla="*/ 12 h 26"/>
                <a:gd name="T6" fmla="*/ 26 w 41"/>
                <a:gd name="T7" fmla="*/ 26 h 26"/>
                <a:gd name="T8" fmla="*/ 38 w 41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6">
                  <a:moveTo>
                    <a:pt x="38" y="12"/>
                  </a:moveTo>
                  <a:cubicBezTo>
                    <a:pt x="35" y="5"/>
                    <a:pt x="24" y="0"/>
                    <a:pt x="15" y="0"/>
                  </a:cubicBezTo>
                  <a:cubicBezTo>
                    <a:pt x="5" y="0"/>
                    <a:pt x="0" y="5"/>
                    <a:pt x="3" y="12"/>
                  </a:cubicBezTo>
                  <a:cubicBezTo>
                    <a:pt x="6" y="20"/>
                    <a:pt x="17" y="26"/>
                    <a:pt x="26" y="26"/>
                  </a:cubicBezTo>
                  <a:cubicBezTo>
                    <a:pt x="36" y="26"/>
                    <a:pt x="41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B53EAA6C-D179-42D6-B4F8-0B3A549BBBD8}"/>
                </a:ext>
              </a:extLst>
            </p:cNvPr>
            <p:cNvSpPr/>
            <p:nvPr/>
          </p:nvSpPr>
          <p:spPr bwMode="auto">
            <a:xfrm>
              <a:off x="874418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15 w 40"/>
                <a:gd name="T3" fmla="*/ 0 h 27"/>
                <a:gd name="T4" fmla="*/ 2 w 40"/>
                <a:gd name="T5" fmla="*/ 14 h 27"/>
                <a:gd name="T6" fmla="*/ 2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1"/>
                    <a:pt x="15" y="27"/>
                    <a:pt x="25" y="27"/>
                  </a:cubicBezTo>
                  <a:cubicBezTo>
                    <a:pt x="35" y="27"/>
                    <a:pt x="40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2" name="任意多边形: 形状 631">
              <a:extLst>
                <a:ext uri="{FF2B5EF4-FFF2-40B4-BE49-F238E27FC236}">
                  <a16:creationId xmlns:a16="http://schemas.microsoft.com/office/drawing/2014/main" id="{408316C2-9242-4741-B2C8-58840C797650}"/>
                </a:ext>
              </a:extLst>
            </p:cNvPr>
            <p:cNvSpPr/>
            <p:nvPr/>
          </p:nvSpPr>
          <p:spPr bwMode="auto">
            <a:xfrm>
              <a:off x="8900018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5" y="21"/>
                    <a:pt x="16" y="27"/>
                    <a:pt x="26" y="27"/>
                  </a:cubicBezTo>
                  <a:cubicBezTo>
                    <a:pt x="35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9EDDACD8-F9B3-408A-81F1-05550DE27F1D}"/>
                </a:ext>
              </a:extLst>
            </p:cNvPr>
            <p:cNvSpPr/>
            <p:nvPr/>
          </p:nvSpPr>
          <p:spPr bwMode="auto">
            <a:xfrm>
              <a:off x="9057399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15 w 41"/>
                <a:gd name="T3" fmla="*/ 0 h 27"/>
                <a:gd name="T4" fmla="*/ 3 w 41"/>
                <a:gd name="T5" fmla="*/ 14 h 27"/>
                <a:gd name="T6" fmla="*/ 2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6" y="27"/>
                    <a:pt x="26" y="27"/>
                  </a:cubicBezTo>
                  <a:cubicBezTo>
                    <a:pt x="36" y="27"/>
                    <a:pt x="41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1D9E09D6-C2D4-4DAA-B743-8E1B81AE845F}"/>
                </a:ext>
              </a:extLst>
            </p:cNvPr>
            <p:cNvSpPr/>
            <p:nvPr/>
          </p:nvSpPr>
          <p:spPr bwMode="auto">
            <a:xfrm>
              <a:off x="9214779" y="3558520"/>
              <a:ext cx="152752" cy="98749"/>
            </a:xfrm>
            <a:custGeom>
              <a:avLst/>
              <a:gdLst>
                <a:gd name="T0" fmla="*/ 38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8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1"/>
                    <a:pt x="17" y="27"/>
                    <a:pt x="27" y="27"/>
                  </a:cubicBezTo>
                  <a:cubicBezTo>
                    <a:pt x="36" y="27"/>
                    <a:pt x="42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5A9DB1DD-EF34-4B80-97A1-0AF9F5450511}"/>
                </a:ext>
              </a:extLst>
            </p:cNvPr>
            <p:cNvSpPr/>
            <p:nvPr/>
          </p:nvSpPr>
          <p:spPr bwMode="auto">
            <a:xfrm>
              <a:off x="9370616" y="3558520"/>
              <a:ext cx="154295" cy="98749"/>
            </a:xfrm>
            <a:custGeom>
              <a:avLst/>
              <a:gdLst>
                <a:gd name="T0" fmla="*/ 39 w 42"/>
                <a:gd name="T1" fmla="*/ 14 h 27"/>
                <a:gd name="T2" fmla="*/ 15 w 42"/>
                <a:gd name="T3" fmla="*/ 0 h 27"/>
                <a:gd name="T4" fmla="*/ 3 w 42"/>
                <a:gd name="T5" fmla="*/ 14 h 27"/>
                <a:gd name="T6" fmla="*/ 27 w 42"/>
                <a:gd name="T7" fmla="*/ 27 h 27"/>
                <a:gd name="T8" fmla="*/ 39 w 42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7">
                  <a:moveTo>
                    <a:pt x="39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7" y="21"/>
                    <a:pt x="17" y="27"/>
                    <a:pt x="27" y="27"/>
                  </a:cubicBezTo>
                  <a:cubicBezTo>
                    <a:pt x="37" y="27"/>
                    <a:pt x="42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F2004D7E-EF5C-43A7-A7AF-998DEFC454A9}"/>
                </a:ext>
              </a:extLst>
            </p:cNvPr>
            <p:cNvSpPr/>
            <p:nvPr/>
          </p:nvSpPr>
          <p:spPr bwMode="auto">
            <a:xfrm>
              <a:off x="9842758" y="3558520"/>
              <a:ext cx="155838" cy="98749"/>
            </a:xfrm>
            <a:custGeom>
              <a:avLst/>
              <a:gdLst>
                <a:gd name="T0" fmla="*/ 39 w 43"/>
                <a:gd name="T1" fmla="*/ 14 h 27"/>
                <a:gd name="T2" fmla="*/ 15 w 43"/>
                <a:gd name="T3" fmla="*/ 0 h 27"/>
                <a:gd name="T4" fmla="*/ 4 w 43"/>
                <a:gd name="T5" fmla="*/ 14 h 27"/>
                <a:gd name="T6" fmla="*/ 28 w 43"/>
                <a:gd name="T7" fmla="*/ 27 h 27"/>
                <a:gd name="T8" fmla="*/ 39 w 43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7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8" y="27"/>
                  </a:cubicBezTo>
                  <a:cubicBezTo>
                    <a:pt x="38" y="27"/>
                    <a:pt x="43" y="21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E0DF99A2-A95F-4DFA-9109-7D846032DF89}"/>
                </a:ext>
              </a:extLst>
            </p:cNvPr>
            <p:cNvSpPr/>
            <p:nvPr/>
          </p:nvSpPr>
          <p:spPr bwMode="auto">
            <a:xfrm>
              <a:off x="9998596" y="3558520"/>
              <a:ext cx="160466" cy="98749"/>
            </a:xfrm>
            <a:custGeom>
              <a:avLst/>
              <a:gdLst>
                <a:gd name="T0" fmla="*/ 40 w 44"/>
                <a:gd name="T1" fmla="*/ 14 h 27"/>
                <a:gd name="T2" fmla="*/ 15 w 44"/>
                <a:gd name="T3" fmla="*/ 0 h 27"/>
                <a:gd name="T4" fmla="*/ 4 w 44"/>
                <a:gd name="T5" fmla="*/ 14 h 27"/>
                <a:gd name="T6" fmla="*/ 29 w 44"/>
                <a:gd name="T7" fmla="*/ 27 h 27"/>
                <a:gd name="T8" fmla="*/ 40 w 44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7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1"/>
                    <a:pt x="19" y="27"/>
                    <a:pt x="29" y="27"/>
                  </a:cubicBezTo>
                  <a:cubicBezTo>
                    <a:pt x="39" y="27"/>
                    <a:pt x="44" y="21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FD07F181-68B2-4698-8A40-BDA80F16A87E}"/>
                </a:ext>
              </a:extLst>
            </p:cNvPr>
            <p:cNvSpPr/>
            <p:nvPr/>
          </p:nvSpPr>
          <p:spPr bwMode="auto">
            <a:xfrm>
              <a:off x="8787383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15 w 41"/>
                <a:gd name="T3" fmla="*/ 0 h 28"/>
                <a:gd name="T4" fmla="*/ 2 w 41"/>
                <a:gd name="T5" fmla="*/ 14 h 28"/>
                <a:gd name="T6" fmla="*/ 25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35" y="6"/>
                    <a:pt x="25" y="0"/>
                    <a:pt x="15" y="0"/>
                  </a:cubicBezTo>
                  <a:cubicBezTo>
                    <a:pt x="5" y="0"/>
                    <a:pt x="0" y="6"/>
                    <a:pt x="2" y="14"/>
                  </a:cubicBezTo>
                  <a:cubicBezTo>
                    <a:pt x="5" y="22"/>
                    <a:pt x="16" y="28"/>
                    <a:pt x="25" y="28"/>
                  </a:cubicBezTo>
                  <a:cubicBezTo>
                    <a:pt x="35" y="28"/>
                    <a:pt x="41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FA1AFC0C-E726-4E0E-9716-97BF452CD618}"/>
                </a:ext>
              </a:extLst>
            </p:cNvPr>
            <p:cNvSpPr/>
            <p:nvPr/>
          </p:nvSpPr>
          <p:spPr bwMode="auto">
            <a:xfrm>
              <a:off x="8944763" y="3678869"/>
              <a:ext cx="152752" cy="103378"/>
            </a:xfrm>
            <a:custGeom>
              <a:avLst/>
              <a:gdLst>
                <a:gd name="T0" fmla="*/ 39 w 42"/>
                <a:gd name="T1" fmla="*/ 14 h 28"/>
                <a:gd name="T2" fmla="*/ 16 w 42"/>
                <a:gd name="T3" fmla="*/ 0 h 28"/>
                <a:gd name="T4" fmla="*/ 3 w 42"/>
                <a:gd name="T5" fmla="*/ 14 h 28"/>
                <a:gd name="T6" fmla="*/ 27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2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1E9F2463-A70D-4C77-830B-6EF91852B5B3}"/>
                </a:ext>
              </a:extLst>
            </p:cNvPr>
            <p:cNvSpPr/>
            <p:nvPr/>
          </p:nvSpPr>
          <p:spPr bwMode="auto">
            <a:xfrm>
              <a:off x="9583543" y="3678869"/>
              <a:ext cx="155838" cy="103378"/>
            </a:xfrm>
            <a:custGeom>
              <a:avLst/>
              <a:gdLst>
                <a:gd name="T0" fmla="*/ 40 w 43"/>
                <a:gd name="T1" fmla="*/ 14 h 28"/>
                <a:gd name="T2" fmla="*/ 15 w 43"/>
                <a:gd name="T3" fmla="*/ 0 h 28"/>
                <a:gd name="T4" fmla="*/ 4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84228B28-BE96-4F04-8757-7A435B3B97B6}"/>
                </a:ext>
              </a:extLst>
            </p:cNvPr>
            <p:cNvSpPr/>
            <p:nvPr/>
          </p:nvSpPr>
          <p:spPr bwMode="auto">
            <a:xfrm>
              <a:off x="10064942" y="3678869"/>
              <a:ext cx="157381" cy="103378"/>
            </a:xfrm>
            <a:custGeom>
              <a:avLst/>
              <a:gdLst>
                <a:gd name="T0" fmla="*/ 39 w 43"/>
                <a:gd name="T1" fmla="*/ 14 h 28"/>
                <a:gd name="T2" fmla="*/ 14 w 43"/>
                <a:gd name="T3" fmla="*/ 0 h 28"/>
                <a:gd name="T4" fmla="*/ 4 w 43"/>
                <a:gd name="T5" fmla="*/ 14 h 28"/>
                <a:gd name="T6" fmla="*/ 29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5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7" y="22"/>
                    <a:pt x="19" y="28"/>
                    <a:pt x="29" y="28"/>
                  </a:cubicBezTo>
                  <a:cubicBezTo>
                    <a:pt x="39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4920A90E-2948-44C7-A79E-838B31541178}"/>
                </a:ext>
              </a:extLst>
            </p:cNvPr>
            <p:cNvSpPr/>
            <p:nvPr/>
          </p:nvSpPr>
          <p:spPr bwMode="auto">
            <a:xfrm>
              <a:off x="10222323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5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978CD9A3-9CAD-42F5-952C-144640B6763D}"/>
                </a:ext>
              </a:extLst>
            </p:cNvPr>
            <p:cNvSpPr/>
            <p:nvPr/>
          </p:nvSpPr>
          <p:spPr bwMode="auto">
            <a:xfrm>
              <a:off x="10382789" y="3678869"/>
              <a:ext cx="160466" cy="103378"/>
            </a:xfrm>
            <a:custGeom>
              <a:avLst/>
              <a:gdLst>
                <a:gd name="T0" fmla="*/ 40 w 44"/>
                <a:gd name="T1" fmla="*/ 14 h 28"/>
                <a:gd name="T2" fmla="*/ 14 w 44"/>
                <a:gd name="T3" fmla="*/ 0 h 28"/>
                <a:gd name="T4" fmla="*/ 4 w 44"/>
                <a:gd name="T5" fmla="*/ 14 h 28"/>
                <a:gd name="T6" fmla="*/ 30 w 44"/>
                <a:gd name="T7" fmla="*/ 28 h 28"/>
                <a:gd name="T8" fmla="*/ 40 w 44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9" y="22"/>
                    <a:pt x="20" y="28"/>
                    <a:pt x="30" y="28"/>
                  </a:cubicBezTo>
                  <a:cubicBezTo>
                    <a:pt x="40" y="28"/>
                    <a:pt x="44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A247DD45-2C01-4264-8DE3-4C63724AFB58}"/>
                </a:ext>
              </a:extLst>
            </p:cNvPr>
            <p:cNvSpPr/>
            <p:nvPr/>
          </p:nvSpPr>
          <p:spPr bwMode="auto">
            <a:xfrm>
              <a:off x="9156147" y="3803849"/>
              <a:ext cx="157381" cy="101834"/>
            </a:xfrm>
            <a:custGeom>
              <a:avLst/>
              <a:gdLst>
                <a:gd name="T0" fmla="*/ 39 w 43"/>
                <a:gd name="T1" fmla="*/ 14 h 28"/>
                <a:gd name="T2" fmla="*/ 15 w 43"/>
                <a:gd name="T3" fmla="*/ 0 h 28"/>
                <a:gd name="T4" fmla="*/ 3 w 43"/>
                <a:gd name="T5" fmla="*/ 14 h 28"/>
                <a:gd name="T6" fmla="*/ 27 w 43"/>
                <a:gd name="T7" fmla="*/ 28 h 28"/>
                <a:gd name="T8" fmla="*/ 39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39" y="14"/>
                  </a:moveTo>
                  <a:cubicBezTo>
                    <a:pt x="36" y="6"/>
                    <a:pt x="25" y="0"/>
                    <a:pt x="15" y="0"/>
                  </a:cubicBezTo>
                  <a:cubicBezTo>
                    <a:pt x="5" y="0"/>
                    <a:pt x="0" y="6"/>
                    <a:pt x="3" y="14"/>
                  </a:cubicBezTo>
                  <a:cubicBezTo>
                    <a:pt x="6" y="22"/>
                    <a:pt x="17" y="28"/>
                    <a:pt x="27" y="28"/>
                  </a:cubicBezTo>
                  <a:cubicBezTo>
                    <a:pt x="37" y="28"/>
                    <a:pt x="43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C5D650C0-EA18-4A54-8A01-ADA5E31DD339}"/>
                </a:ext>
              </a:extLst>
            </p:cNvPr>
            <p:cNvSpPr/>
            <p:nvPr/>
          </p:nvSpPr>
          <p:spPr bwMode="auto">
            <a:xfrm>
              <a:off x="9316614" y="3803849"/>
              <a:ext cx="157381" cy="101834"/>
            </a:xfrm>
            <a:custGeom>
              <a:avLst/>
              <a:gdLst>
                <a:gd name="T0" fmla="*/ 40 w 43"/>
                <a:gd name="T1" fmla="*/ 14 h 28"/>
                <a:gd name="T2" fmla="*/ 16 w 43"/>
                <a:gd name="T3" fmla="*/ 0 h 28"/>
                <a:gd name="T4" fmla="*/ 3 w 43"/>
                <a:gd name="T5" fmla="*/ 14 h 28"/>
                <a:gd name="T6" fmla="*/ 28 w 43"/>
                <a:gd name="T7" fmla="*/ 28 h 28"/>
                <a:gd name="T8" fmla="*/ 40 w 43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8">
                  <a:moveTo>
                    <a:pt x="40" y="14"/>
                  </a:moveTo>
                  <a:cubicBezTo>
                    <a:pt x="36" y="6"/>
                    <a:pt x="26" y="0"/>
                    <a:pt x="16" y="0"/>
                  </a:cubicBezTo>
                  <a:cubicBezTo>
                    <a:pt x="6" y="0"/>
                    <a:pt x="0" y="6"/>
                    <a:pt x="3" y="14"/>
                  </a:cubicBezTo>
                  <a:cubicBezTo>
                    <a:pt x="7" y="22"/>
                    <a:pt x="18" y="28"/>
                    <a:pt x="28" y="28"/>
                  </a:cubicBezTo>
                  <a:cubicBezTo>
                    <a:pt x="38" y="28"/>
                    <a:pt x="43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B2E02AD0-FF8F-409E-BC1A-532B2366FB4A}"/>
                </a:ext>
              </a:extLst>
            </p:cNvPr>
            <p:cNvSpPr/>
            <p:nvPr/>
          </p:nvSpPr>
          <p:spPr bwMode="auto">
            <a:xfrm>
              <a:off x="10290213" y="3803849"/>
              <a:ext cx="165096" cy="101834"/>
            </a:xfrm>
            <a:custGeom>
              <a:avLst/>
              <a:gdLst>
                <a:gd name="T0" fmla="*/ 40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0 w 45"/>
                <a:gd name="T7" fmla="*/ 28 h 28"/>
                <a:gd name="T8" fmla="*/ 40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0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8" y="22"/>
                    <a:pt x="20" y="28"/>
                    <a:pt x="30" y="28"/>
                  </a:cubicBezTo>
                  <a:cubicBezTo>
                    <a:pt x="40" y="28"/>
                    <a:pt x="45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570CA7A9-4487-4369-8BE9-CC45F9FA0201}"/>
                </a:ext>
              </a:extLst>
            </p:cNvPr>
            <p:cNvSpPr/>
            <p:nvPr/>
          </p:nvSpPr>
          <p:spPr bwMode="auto">
            <a:xfrm>
              <a:off x="10452222" y="3803849"/>
              <a:ext cx="163552" cy="101834"/>
            </a:xfrm>
            <a:custGeom>
              <a:avLst/>
              <a:gdLst>
                <a:gd name="T0" fmla="*/ 41 w 45"/>
                <a:gd name="T1" fmla="*/ 14 h 28"/>
                <a:gd name="T2" fmla="*/ 14 w 45"/>
                <a:gd name="T3" fmla="*/ 0 h 28"/>
                <a:gd name="T4" fmla="*/ 4 w 45"/>
                <a:gd name="T5" fmla="*/ 14 h 28"/>
                <a:gd name="T6" fmla="*/ 31 w 45"/>
                <a:gd name="T7" fmla="*/ 28 h 28"/>
                <a:gd name="T8" fmla="*/ 41 w 4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8">
                  <a:moveTo>
                    <a:pt x="41" y="14"/>
                  </a:moveTo>
                  <a:cubicBezTo>
                    <a:pt x="36" y="6"/>
                    <a:pt x="24" y="0"/>
                    <a:pt x="14" y="0"/>
                  </a:cubicBezTo>
                  <a:cubicBezTo>
                    <a:pt x="4" y="0"/>
                    <a:pt x="0" y="6"/>
                    <a:pt x="4" y="14"/>
                  </a:cubicBezTo>
                  <a:cubicBezTo>
                    <a:pt x="9" y="22"/>
                    <a:pt x="20" y="28"/>
                    <a:pt x="31" y="28"/>
                  </a:cubicBezTo>
                  <a:cubicBezTo>
                    <a:pt x="41" y="28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99997414-8F42-4EA0-BA76-20D43AB3F81E}"/>
                </a:ext>
              </a:extLst>
            </p:cNvPr>
            <p:cNvSpPr/>
            <p:nvPr/>
          </p:nvSpPr>
          <p:spPr bwMode="auto">
            <a:xfrm>
              <a:off x="11348674" y="4198843"/>
              <a:ext cx="183611" cy="112636"/>
            </a:xfrm>
            <a:custGeom>
              <a:avLst/>
              <a:gdLst>
                <a:gd name="T0" fmla="*/ 44 w 50"/>
                <a:gd name="T1" fmla="*/ 15 h 31"/>
                <a:gd name="T2" fmla="*/ 15 w 50"/>
                <a:gd name="T3" fmla="*/ 0 h 31"/>
                <a:gd name="T4" fmla="*/ 6 w 50"/>
                <a:gd name="T5" fmla="*/ 15 h 31"/>
                <a:gd name="T6" fmla="*/ 35 w 50"/>
                <a:gd name="T7" fmla="*/ 31 h 31"/>
                <a:gd name="T8" fmla="*/ 44 w 50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1">
                  <a:moveTo>
                    <a:pt x="44" y="15"/>
                  </a:moveTo>
                  <a:cubicBezTo>
                    <a:pt x="38" y="7"/>
                    <a:pt x="25" y="0"/>
                    <a:pt x="15" y="0"/>
                  </a:cubicBezTo>
                  <a:cubicBezTo>
                    <a:pt x="5" y="0"/>
                    <a:pt x="0" y="7"/>
                    <a:pt x="6" y="15"/>
                  </a:cubicBezTo>
                  <a:cubicBezTo>
                    <a:pt x="11" y="24"/>
                    <a:pt x="24" y="31"/>
                    <a:pt x="35" y="31"/>
                  </a:cubicBezTo>
                  <a:cubicBezTo>
                    <a:pt x="46" y="31"/>
                    <a:pt x="50" y="24"/>
                    <a:pt x="44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792F317C-9E79-4691-8DE5-A46BAEA22F24}"/>
                </a:ext>
              </a:extLst>
            </p:cNvPr>
            <p:cNvSpPr/>
            <p:nvPr/>
          </p:nvSpPr>
          <p:spPr bwMode="auto">
            <a:xfrm>
              <a:off x="10027912" y="3931913"/>
              <a:ext cx="165096" cy="104920"/>
            </a:xfrm>
            <a:custGeom>
              <a:avLst/>
              <a:gdLst>
                <a:gd name="T0" fmla="*/ 41 w 45"/>
                <a:gd name="T1" fmla="*/ 14 h 29"/>
                <a:gd name="T2" fmla="*/ 15 w 45"/>
                <a:gd name="T3" fmla="*/ 0 h 29"/>
                <a:gd name="T4" fmla="*/ 4 w 45"/>
                <a:gd name="T5" fmla="*/ 14 h 29"/>
                <a:gd name="T6" fmla="*/ 30 w 45"/>
                <a:gd name="T7" fmla="*/ 29 h 29"/>
                <a:gd name="T8" fmla="*/ 41 w 45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29">
                  <a:moveTo>
                    <a:pt x="41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4"/>
                  </a:cubicBezTo>
                  <a:cubicBezTo>
                    <a:pt x="8" y="22"/>
                    <a:pt x="20" y="29"/>
                    <a:pt x="30" y="29"/>
                  </a:cubicBezTo>
                  <a:cubicBezTo>
                    <a:pt x="40" y="29"/>
                    <a:pt x="45" y="22"/>
                    <a:pt x="41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D5915491-3795-4E2A-96E8-D20D86AC6E8F}"/>
                </a:ext>
              </a:extLst>
            </p:cNvPr>
            <p:cNvSpPr/>
            <p:nvPr/>
          </p:nvSpPr>
          <p:spPr bwMode="auto">
            <a:xfrm>
              <a:off x="10356560" y="3931913"/>
              <a:ext cx="168182" cy="104920"/>
            </a:xfrm>
            <a:custGeom>
              <a:avLst/>
              <a:gdLst>
                <a:gd name="T0" fmla="*/ 42 w 46"/>
                <a:gd name="T1" fmla="*/ 14 h 29"/>
                <a:gd name="T2" fmla="*/ 15 w 46"/>
                <a:gd name="T3" fmla="*/ 0 h 29"/>
                <a:gd name="T4" fmla="*/ 5 w 46"/>
                <a:gd name="T5" fmla="*/ 14 h 29"/>
                <a:gd name="T6" fmla="*/ 31 w 46"/>
                <a:gd name="T7" fmla="*/ 29 h 29"/>
                <a:gd name="T8" fmla="*/ 42 w 46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29">
                  <a:moveTo>
                    <a:pt x="42" y="14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5" y="14"/>
                  </a:cubicBezTo>
                  <a:cubicBezTo>
                    <a:pt x="9" y="22"/>
                    <a:pt x="21" y="29"/>
                    <a:pt x="31" y="29"/>
                  </a:cubicBezTo>
                  <a:cubicBezTo>
                    <a:pt x="42" y="29"/>
                    <a:pt x="46" y="22"/>
                    <a:pt x="42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4A149BFF-36F9-4FF6-ADB2-679F95A47F71}"/>
                </a:ext>
              </a:extLst>
            </p:cNvPr>
            <p:cNvSpPr/>
            <p:nvPr/>
          </p:nvSpPr>
          <p:spPr bwMode="auto">
            <a:xfrm>
              <a:off x="9762525" y="4063064"/>
              <a:ext cx="163552" cy="109550"/>
            </a:xfrm>
            <a:custGeom>
              <a:avLst/>
              <a:gdLst>
                <a:gd name="T0" fmla="*/ 41 w 45"/>
                <a:gd name="T1" fmla="*/ 15 h 30"/>
                <a:gd name="T2" fmla="*/ 15 w 45"/>
                <a:gd name="T3" fmla="*/ 0 h 30"/>
                <a:gd name="T4" fmla="*/ 3 w 45"/>
                <a:gd name="T5" fmla="*/ 15 h 30"/>
                <a:gd name="T6" fmla="*/ 29 w 45"/>
                <a:gd name="T7" fmla="*/ 30 h 30"/>
                <a:gd name="T8" fmla="*/ 41 w 45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0">
                  <a:moveTo>
                    <a:pt x="41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3" y="15"/>
                  </a:cubicBezTo>
                  <a:cubicBezTo>
                    <a:pt x="7" y="23"/>
                    <a:pt x="19" y="30"/>
                    <a:pt x="29" y="30"/>
                  </a:cubicBezTo>
                  <a:cubicBezTo>
                    <a:pt x="40" y="30"/>
                    <a:pt x="45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D614BE78-07AD-4E5E-83AE-319AD79739C6}"/>
                </a:ext>
              </a:extLst>
            </p:cNvPr>
            <p:cNvSpPr/>
            <p:nvPr/>
          </p:nvSpPr>
          <p:spPr bwMode="auto">
            <a:xfrm>
              <a:off x="9926077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6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6" y="0"/>
                  </a:cubicBezTo>
                  <a:cubicBezTo>
                    <a:pt x="6" y="0"/>
                    <a:pt x="0" y="6"/>
                    <a:pt x="4" y="15"/>
                  </a:cubicBezTo>
                  <a:cubicBezTo>
                    <a:pt x="8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8E7F7231-29A2-44B1-BBB4-929D15C0E057}"/>
                </a:ext>
              </a:extLst>
            </p:cNvPr>
            <p:cNvSpPr/>
            <p:nvPr/>
          </p:nvSpPr>
          <p:spPr bwMode="auto">
            <a:xfrm>
              <a:off x="10094259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8" y="6"/>
                    <a:pt x="26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0" y="30"/>
                    <a:pt x="31" y="30"/>
                  </a:cubicBezTo>
                  <a:cubicBezTo>
                    <a:pt x="41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D0A8918B-1DF2-4581-8489-1862293A92C4}"/>
                </a:ext>
              </a:extLst>
            </p:cNvPr>
            <p:cNvSpPr/>
            <p:nvPr/>
          </p:nvSpPr>
          <p:spPr bwMode="auto">
            <a:xfrm>
              <a:off x="10262440" y="4063064"/>
              <a:ext cx="166638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DAF81053-63F3-4D66-A1F2-3CC1CB9E2E1F}"/>
                </a:ext>
              </a:extLst>
            </p:cNvPr>
            <p:cNvSpPr/>
            <p:nvPr/>
          </p:nvSpPr>
          <p:spPr bwMode="auto">
            <a:xfrm>
              <a:off x="10429078" y="4063064"/>
              <a:ext cx="168182" cy="109550"/>
            </a:xfrm>
            <a:custGeom>
              <a:avLst/>
              <a:gdLst>
                <a:gd name="T0" fmla="*/ 42 w 46"/>
                <a:gd name="T1" fmla="*/ 15 h 30"/>
                <a:gd name="T2" fmla="*/ 15 w 46"/>
                <a:gd name="T3" fmla="*/ 0 h 30"/>
                <a:gd name="T4" fmla="*/ 4 w 46"/>
                <a:gd name="T5" fmla="*/ 15 h 30"/>
                <a:gd name="T6" fmla="*/ 31 w 46"/>
                <a:gd name="T7" fmla="*/ 30 h 30"/>
                <a:gd name="T8" fmla="*/ 42 w 46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0">
                  <a:moveTo>
                    <a:pt x="42" y="15"/>
                  </a:moveTo>
                  <a:cubicBezTo>
                    <a:pt x="37" y="6"/>
                    <a:pt x="25" y="0"/>
                    <a:pt x="15" y="0"/>
                  </a:cubicBezTo>
                  <a:cubicBezTo>
                    <a:pt x="5" y="0"/>
                    <a:pt x="0" y="6"/>
                    <a:pt x="4" y="15"/>
                  </a:cubicBezTo>
                  <a:cubicBezTo>
                    <a:pt x="9" y="23"/>
                    <a:pt x="21" y="30"/>
                    <a:pt x="31" y="30"/>
                  </a:cubicBezTo>
                  <a:cubicBezTo>
                    <a:pt x="42" y="30"/>
                    <a:pt x="46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42528E53-0776-46E1-B87B-7B24399AD5F9}"/>
                </a:ext>
              </a:extLst>
            </p:cNvPr>
            <p:cNvSpPr/>
            <p:nvPr/>
          </p:nvSpPr>
          <p:spPr bwMode="auto">
            <a:xfrm>
              <a:off x="10597259" y="4063064"/>
              <a:ext cx="171268" cy="109550"/>
            </a:xfrm>
            <a:custGeom>
              <a:avLst/>
              <a:gdLst>
                <a:gd name="T0" fmla="*/ 42 w 47"/>
                <a:gd name="T1" fmla="*/ 15 h 30"/>
                <a:gd name="T2" fmla="*/ 14 w 47"/>
                <a:gd name="T3" fmla="*/ 0 h 30"/>
                <a:gd name="T4" fmla="*/ 4 w 47"/>
                <a:gd name="T5" fmla="*/ 15 h 30"/>
                <a:gd name="T6" fmla="*/ 32 w 47"/>
                <a:gd name="T7" fmla="*/ 30 h 30"/>
                <a:gd name="T8" fmla="*/ 42 w 47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0">
                  <a:moveTo>
                    <a:pt x="42" y="15"/>
                  </a:moveTo>
                  <a:cubicBezTo>
                    <a:pt x="37" y="6"/>
                    <a:pt x="25" y="0"/>
                    <a:pt x="14" y="0"/>
                  </a:cubicBezTo>
                  <a:cubicBezTo>
                    <a:pt x="4" y="0"/>
                    <a:pt x="0" y="6"/>
                    <a:pt x="4" y="15"/>
                  </a:cubicBezTo>
                  <a:cubicBezTo>
                    <a:pt x="9" y="23"/>
                    <a:pt x="21" y="30"/>
                    <a:pt x="32" y="30"/>
                  </a:cubicBezTo>
                  <a:cubicBezTo>
                    <a:pt x="42" y="30"/>
                    <a:pt x="47" y="23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D5162FAA-04E4-47ED-ADA9-500A48FEB74D}"/>
                </a:ext>
              </a:extLst>
            </p:cNvPr>
            <p:cNvSpPr/>
            <p:nvPr/>
          </p:nvSpPr>
          <p:spPr bwMode="auto">
            <a:xfrm>
              <a:off x="9652976" y="4198843"/>
              <a:ext cx="166638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8" name="任意多边形: 形状 657">
              <a:extLst>
                <a:ext uri="{FF2B5EF4-FFF2-40B4-BE49-F238E27FC236}">
                  <a16:creationId xmlns:a16="http://schemas.microsoft.com/office/drawing/2014/main" id="{8C0DEC53-C55B-4050-9053-49EF4847A6FC}"/>
                </a:ext>
              </a:extLst>
            </p:cNvPr>
            <p:cNvSpPr/>
            <p:nvPr/>
          </p:nvSpPr>
          <p:spPr bwMode="auto">
            <a:xfrm>
              <a:off x="9824243" y="4198843"/>
              <a:ext cx="168182" cy="112636"/>
            </a:xfrm>
            <a:custGeom>
              <a:avLst/>
              <a:gdLst>
                <a:gd name="T0" fmla="*/ 42 w 46"/>
                <a:gd name="T1" fmla="*/ 15 h 31"/>
                <a:gd name="T2" fmla="*/ 16 w 46"/>
                <a:gd name="T3" fmla="*/ 0 h 31"/>
                <a:gd name="T4" fmla="*/ 4 w 46"/>
                <a:gd name="T5" fmla="*/ 15 h 31"/>
                <a:gd name="T6" fmla="*/ 30 w 46"/>
                <a:gd name="T7" fmla="*/ 31 h 31"/>
                <a:gd name="T8" fmla="*/ 42 w 46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1">
                  <a:moveTo>
                    <a:pt x="42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0" y="31"/>
                  </a:cubicBezTo>
                  <a:cubicBezTo>
                    <a:pt x="41" y="31"/>
                    <a:pt x="46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9" name="任意多边形: 形状 658">
              <a:extLst>
                <a:ext uri="{FF2B5EF4-FFF2-40B4-BE49-F238E27FC236}">
                  <a16:creationId xmlns:a16="http://schemas.microsoft.com/office/drawing/2014/main" id="{55AD3074-2E02-465E-A0E6-021ADB3548D8}"/>
                </a:ext>
              </a:extLst>
            </p:cNvPr>
            <p:cNvSpPr/>
            <p:nvPr/>
          </p:nvSpPr>
          <p:spPr bwMode="auto">
            <a:xfrm>
              <a:off x="9992424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6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1" y="31"/>
                  </a:cubicBezTo>
                  <a:cubicBezTo>
                    <a:pt x="42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080BBF0E-FDD5-4BEA-BBF1-B4CAF9CB47A0}"/>
                </a:ext>
              </a:extLst>
            </p:cNvPr>
            <p:cNvSpPr/>
            <p:nvPr/>
          </p:nvSpPr>
          <p:spPr bwMode="auto">
            <a:xfrm>
              <a:off x="10163691" y="4198843"/>
              <a:ext cx="171268" cy="112636"/>
            </a:xfrm>
            <a:custGeom>
              <a:avLst/>
              <a:gdLst>
                <a:gd name="T0" fmla="*/ 42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1 w 47"/>
                <a:gd name="T7" fmla="*/ 31 h 31"/>
                <a:gd name="T8" fmla="*/ 42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2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8" y="24"/>
                    <a:pt x="20" y="31"/>
                    <a:pt x="31" y="31"/>
                  </a:cubicBezTo>
                  <a:cubicBezTo>
                    <a:pt x="42" y="31"/>
                    <a:pt x="47" y="24"/>
                    <a:pt x="42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50327F4F-0DF2-49B6-9FCF-FAA92609188E}"/>
                </a:ext>
              </a:extLst>
            </p:cNvPr>
            <p:cNvSpPr/>
            <p:nvPr/>
          </p:nvSpPr>
          <p:spPr bwMode="auto">
            <a:xfrm>
              <a:off x="10330329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6 w 48"/>
                <a:gd name="T3" fmla="*/ 0 h 31"/>
                <a:gd name="T4" fmla="*/ 5 w 48"/>
                <a:gd name="T5" fmla="*/ 15 h 31"/>
                <a:gd name="T6" fmla="*/ 32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19D4885C-1B29-4A90-B820-D5F77D88E10C}"/>
                </a:ext>
              </a:extLst>
            </p:cNvPr>
            <p:cNvSpPr/>
            <p:nvPr/>
          </p:nvSpPr>
          <p:spPr bwMode="auto">
            <a:xfrm>
              <a:off x="10503139" y="4198843"/>
              <a:ext cx="171268" cy="112636"/>
            </a:xfrm>
            <a:custGeom>
              <a:avLst/>
              <a:gdLst>
                <a:gd name="T0" fmla="*/ 43 w 47"/>
                <a:gd name="T1" fmla="*/ 15 h 31"/>
                <a:gd name="T2" fmla="*/ 15 w 47"/>
                <a:gd name="T3" fmla="*/ 0 h 31"/>
                <a:gd name="T4" fmla="*/ 4 w 47"/>
                <a:gd name="T5" fmla="*/ 15 h 31"/>
                <a:gd name="T6" fmla="*/ 32 w 47"/>
                <a:gd name="T7" fmla="*/ 31 h 31"/>
                <a:gd name="T8" fmla="*/ 43 w 47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4" y="15"/>
                  </a:cubicBezTo>
                  <a:cubicBezTo>
                    <a:pt x="9" y="24"/>
                    <a:pt x="21" y="31"/>
                    <a:pt x="32" y="31"/>
                  </a:cubicBezTo>
                  <a:cubicBezTo>
                    <a:pt x="43" y="31"/>
                    <a:pt x="47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7AB7A3C9-949E-412D-8870-83223F1DCF69}"/>
                </a:ext>
              </a:extLst>
            </p:cNvPr>
            <p:cNvSpPr/>
            <p:nvPr/>
          </p:nvSpPr>
          <p:spPr bwMode="auto">
            <a:xfrm>
              <a:off x="10669777" y="4198843"/>
              <a:ext cx="175896" cy="112636"/>
            </a:xfrm>
            <a:custGeom>
              <a:avLst/>
              <a:gdLst>
                <a:gd name="T0" fmla="*/ 43 w 48"/>
                <a:gd name="T1" fmla="*/ 15 h 31"/>
                <a:gd name="T2" fmla="*/ 15 w 48"/>
                <a:gd name="T3" fmla="*/ 0 h 31"/>
                <a:gd name="T4" fmla="*/ 5 w 48"/>
                <a:gd name="T5" fmla="*/ 15 h 31"/>
                <a:gd name="T6" fmla="*/ 33 w 48"/>
                <a:gd name="T7" fmla="*/ 31 h 31"/>
                <a:gd name="T8" fmla="*/ 43 w 48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1">
                  <a:moveTo>
                    <a:pt x="43" y="15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5" y="0"/>
                    <a:pt x="0" y="7"/>
                    <a:pt x="5" y="15"/>
                  </a:cubicBezTo>
                  <a:cubicBezTo>
                    <a:pt x="10" y="24"/>
                    <a:pt x="22" y="31"/>
                    <a:pt x="33" y="31"/>
                  </a:cubicBezTo>
                  <a:cubicBezTo>
                    <a:pt x="44" y="31"/>
                    <a:pt x="48" y="24"/>
                    <a:pt x="43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9813B851-8CE7-4D82-B1FD-C750092A1997}"/>
                </a:ext>
              </a:extLst>
            </p:cNvPr>
            <p:cNvSpPr/>
            <p:nvPr/>
          </p:nvSpPr>
          <p:spPr bwMode="auto">
            <a:xfrm>
              <a:off x="9543426" y="4337708"/>
              <a:ext cx="166638" cy="115721"/>
            </a:xfrm>
            <a:custGeom>
              <a:avLst/>
              <a:gdLst>
                <a:gd name="T0" fmla="*/ 42 w 46"/>
                <a:gd name="T1" fmla="*/ 16 h 32"/>
                <a:gd name="T2" fmla="*/ 16 w 46"/>
                <a:gd name="T3" fmla="*/ 0 h 32"/>
                <a:gd name="T4" fmla="*/ 4 w 46"/>
                <a:gd name="T5" fmla="*/ 16 h 32"/>
                <a:gd name="T6" fmla="*/ 30 w 46"/>
                <a:gd name="T7" fmla="*/ 32 h 32"/>
                <a:gd name="T8" fmla="*/ 42 w 46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2">
                  <a:moveTo>
                    <a:pt x="42" y="16"/>
                  </a:moveTo>
                  <a:cubicBezTo>
                    <a:pt x="38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7" y="25"/>
                    <a:pt x="19" y="32"/>
                    <a:pt x="30" y="32"/>
                  </a:cubicBezTo>
                  <a:cubicBezTo>
                    <a:pt x="41" y="32"/>
                    <a:pt x="46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6F12ACD6-3627-4A54-8086-AB1610A6A320}"/>
                </a:ext>
              </a:extLst>
            </p:cNvPr>
            <p:cNvSpPr/>
            <p:nvPr/>
          </p:nvSpPr>
          <p:spPr bwMode="auto">
            <a:xfrm>
              <a:off x="9714694" y="4337708"/>
              <a:ext cx="171268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1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D38E861B-63FD-4F71-B86F-3B5D50352FD1}"/>
                </a:ext>
              </a:extLst>
            </p:cNvPr>
            <p:cNvSpPr/>
            <p:nvPr/>
          </p:nvSpPr>
          <p:spPr bwMode="auto">
            <a:xfrm>
              <a:off x="9885961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1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7" y="0"/>
                    <a:pt x="16" y="0"/>
                  </a:cubicBezTo>
                  <a:cubicBezTo>
                    <a:pt x="6" y="0"/>
                    <a:pt x="0" y="7"/>
                    <a:pt x="5" y="16"/>
                  </a:cubicBezTo>
                  <a:cubicBezTo>
                    <a:pt x="9" y="25"/>
                    <a:pt x="21" y="32"/>
                    <a:pt x="31" y="32"/>
                  </a:cubicBezTo>
                  <a:cubicBezTo>
                    <a:pt x="42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D74DCA47-B2E5-484E-BDB8-31AAF9A6AE19}"/>
                </a:ext>
              </a:extLst>
            </p:cNvPr>
            <p:cNvSpPr/>
            <p:nvPr/>
          </p:nvSpPr>
          <p:spPr bwMode="auto">
            <a:xfrm>
              <a:off x="10060314" y="4337708"/>
              <a:ext cx="172810" cy="115721"/>
            </a:xfrm>
            <a:custGeom>
              <a:avLst/>
              <a:gdLst>
                <a:gd name="T0" fmla="*/ 43 w 47"/>
                <a:gd name="T1" fmla="*/ 16 h 32"/>
                <a:gd name="T2" fmla="*/ 16 w 47"/>
                <a:gd name="T3" fmla="*/ 0 h 32"/>
                <a:gd name="T4" fmla="*/ 4 w 47"/>
                <a:gd name="T5" fmla="*/ 16 h 32"/>
                <a:gd name="T6" fmla="*/ 31 w 47"/>
                <a:gd name="T7" fmla="*/ 32 h 32"/>
                <a:gd name="T8" fmla="*/ 43 w 47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2">
                  <a:moveTo>
                    <a:pt x="43" y="16"/>
                  </a:moveTo>
                  <a:cubicBezTo>
                    <a:pt x="38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8" y="25"/>
                    <a:pt x="20" y="32"/>
                    <a:pt x="31" y="32"/>
                  </a:cubicBezTo>
                  <a:cubicBezTo>
                    <a:pt x="42" y="32"/>
                    <a:pt x="47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3E536B5B-E358-477C-AFEB-4FAEF9445414}"/>
                </a:ext>
              </a:extLst>
            </p:cNvPr>
            <p:cNvSpPr/>
            <p:nvPr/>
          </p:nvSpPr>
          <p:spPr bwMode="auto">
            <a:xfrm>
              <a:off x="10233124" y="4337708"/>
              <a:ext cx="174353" cy="115721"/>
            </a:xfrm>
            <a:custGeom>
              <a:avLst/>
              <a:gdLst>
                <a:gd name="T0" fmla="*/ 43 w 48"/>
                <a:gd name="T1" fmla="*/ 16 h 32"/>
                <a:gd name="T2" fmla="*/ 16 w 48"/>
                <a:gd name="T3" fmla="*/ 0 h 32"/>
                <a:gd name="T4" fmla="*/ 4 w 48"/>
                <a:gd name="T5" fmla="*/ 16 h 32"/>
                <a:gd name="T6" fmla="*/ 32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4" y="16"/>
                  </a:cubicBezTo>
                  <a:cubicBezTo>
                    <a:pt x="9" y="25"/>
                    <a:pt x="21" y="32"/>
                    <a:pt x="32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82E60AC9-09EF-4D31-A787-3409CA0E5996}"/>
                </a:ext>
              </a:extLst>
            </p:cNvPr>
            <p:cNvSpPr/>
            <p:nvPr/>
          </p:nvSpPr>
          <p:spPr bwMode="auto">
            <a:xfrm>
              <a:off x="10404391" y="4337708"/>
              <a:ext cx="174353" cy="115721"/>
            </a:xfrm>
            <a:custGeom>
              <a:avLst/>
              <a:gdLst>
                <a:gd name="T0" fmla="*/ 44 w 48"/>
                <a:gd name="T1" fmla="*/ 16 h 32"/>
                <a:gd name="T2" fmla="*/ 16 w 48"/>
                <a:gd name="T3" fmla="*/ 0 h 32"/>
                <a:gd name="T4" fmla="*/ 5 w 48"/>
                <a:gd name="T5" fmla="*/ 16 h 32"/>
                <a:gd name="T6" fmla="*/ 33 w 48"/>
                <a:gd name="T7" fmla="*/ 32 h 32"/>
                <a:gd name="T8" fmla="*/ 44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4" y="16"/>
                  </a:moveTo>
                  <a:cubicBezTo>
                    <a:pt x="39" y="7"/>
                    <a:pt x="26" y="0"/>
                    <a:pt x="16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8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D2C29C67-876C-4CE3-BE96-B8BFD7CE0737}"/>
                </a:ext>
              </a:extLst>
            </p:cNvPr>
            <p:cNvSpPr/>
            <p:nvPr/>
          </p:nvSpPr>
          <p:spPr bwMode="auto">
            <a:xfrm>
              <a:off x="10578744" y="4337708"/>
              <a:ext cx="175896" cy="115721"/>
            </a:xfrm>
            <a:custGeom>
              <a:avLst/>
              <a:gdLst>
                <a:gd name="T0" fmla="*/ 43 w 48"/>
                <a:gd name="T1" fmla="*/ 16 h 32"/>
                <a:gd name="T2" fmla="*/ 15 w 48"/>
                <a:gd name="T3" fmla="*/ 0 h 32"/>
                <a:gd name="T4" fmla="*/ 4 w 48"/>
                <a:gd name="T5" fmla="*/ 16 h 32"/>
                <a:gd name="T6" fmla="*/ 33 w 48"/>
                <a:gd name="T7" fmla="*/ 32 h 32"/>
                <a:gd name="T8" fmla="*/ 43 w 48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4" y="16"/>
                  </a:cubicBezTo>
                  <a:cubicBezTo>
                    <a:pt x="9" y="25"/>
                    <a:pt x="22" y="32"/>
                    <a:pt x="33" y="32"/>
                  </a:cubicBezTo>
                  <a:cubicBezTo>
                    <a:pt x="43" y="32"/>
                    <a:pt x="48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8B2B0AC1-8B8E-44B1-8222-15F9C371D46E}"/>
                </a:ext>
              </a:extLst>
            </p:cNvPr>
            <p:cNvSpPr/>
            <p:nvPr/>
          </p:nvSpPr>
          <p:spPr bwMode="auto">
            <a:xfrm>
              <a:off x="10750011" y="4337708"/>
              <a:ext cx="178982" cy="115721"/>
            </a:xfrm>
            <a:custGeom>
              <a:avLst/>
              <a:gdLst>
                <a:gd name="T0" fmla="*/ 43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3 w 49"/>
                <a:gd name="T7" fmla="*/ 32 h 32"/>
                <a:gd name="T8" fmla="*/ 43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3" y="16"/>
                  </a:moveTo>
                  <a:cubicBezTo>
                    <a:pt x="38" y="7"/>
                    <a:pt x="26" y="0"/>
                    <a:pt x="15" y="0"/>
                  </a:cubicBezTo>
                  <a:cubicBezTo>
                    <a:pt x="4" y="0"/>
                    <a:pt x="0" y="7"/>
                    <a:pt x="5" y="16"/>
                  </a:cubicBezTo>
                  <a:cubicBezTo>
                    <a:pt x="10" y="25"/>
                    <a:pt x="22" y="32"/>
                    <a:pt x="33" y="32"/>
                  </a:cubicBezTo>
                  <a:cubicBezTo>
                    <a:pt x="44" y="32"/>
                    <a:pt x="49" y="25"/>
                    <a:pt x="43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27092721-12D3-453E-AE37-719FCB4EE5C6}"/>
                </a:ext>
              </a:extLst>
            </p:cNvPr>
            <p:cNvSpPr/>
            <p:nvPr/>
          </p:nvSpPr>
          <p:spPr bwMode="auto">
            <a:xfrm>
              <a:off x="10922821" y="4337708"/>
              <a:ext cx="177439" cy="115721"/>
            </a:xfrm>
            <a:custGeom>
              <a:avLst/>
              <a:gdLst>
                <a:gd name="T0" fmla="*/ 44 w 49"/>
                <a:gd name="T1" fmla="*/ 16 h 32"/>
                <a:gd name="T2" fmla="*/ 15 w 49"/>
                <a:gd name="T3" fmla="*/ 0 h 32"/>
                <a:gd name="T4" fmla="*/ 5 w 49"/>
                <a:gd name="T5" fmla="*/ 16 h 32"/>
                <a:gd name="T6" fmla="*/ 34 w 49"/>
                <a:gd name="T7" fmla="*/ 32 h 32"/>
                <a:gd name="T8" fmla="*/ 44 w 49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2">
                  <a:moveTo>
                    <a:pt x="44" y="16"/>
                  </a:moveTo>
                  <a:cubicBezTo>
                    <a:pt x="39" y="7"/>
                    <a:pt x="26" y="0"/>
                    <a:pt x="15" y="0"/>
                  </a:cubicBezTo>
                  <a:cubicBezTo>
                    <a:pt x="5" y="0"/>
                    <a:pt x="0" y="7"/>
                    <a:pt x="5" y="16"/>
                  </a:cubicBezTo>
                  <a:cubicBezTo>
                    <a:pt x="10" y="25"/>
                    <a:pt x="23" y="32"/>
                    <a:pt x="34" y="32"/>
                  </a:cubicBezTo>
                  <a:cubicBezTo>
                    <a:pt x="45" y="32"/>
                    <a:pt x="49" y="25"/>
                    <a:pt x="44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9A70FF05-ED12-463C-9F98-DDAC127B0C7D}"/>
                </a:ext>
              </a:extLst>
            </p:cNvPr>
            <p:cNvSpPr/>
            <p:nvPr/>
          </p:nvSpPr>
          <p:spPr bwMode="auto">
            <a:xfrm>
              <a:off x="9779498" y="4479659"/>
              <a:ext cx="172810" cy="123436"/>
            </a:xfrm>
            <a:custGeom>
              <a:avLst/>
              <a:gdLst>
                <a:gd name="T0" fmla="*/ 43 w 47"/>
                <a:gd name="T1" fmla="*/ 17 h 34"/>
                <a:gd name="T2" fmla="*/ 16 w 47"/>
                <a:gd name="T3" fmla="*/ 0 h 34"/>
                <a:gd name="T4" fmla="*/ 4 w 47"/>
                <a:gd name="T5" fmla="*/ 17 h 34"/>
                <a:gd name="T6" fmla="*/ 31 w 47"/>
                <a:gd name="T7" fmla="*/ 34 h 34"/>
                <a:gd name="T8" fmla="*/ 43 w 47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0" y="34"/>
                    <a:pt x="31" y="34"/>
                  </a:cubicBezTo>
                  <a:cubicBezTo>
                    <a:pt x="42" y="34"/>
                    <a:pt x="47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6AA1B244-C6ED-4397-B87D-107CC42BE4A7}"/>
                </a:ext>
              </a:extLst>
            </p:cNvPr>
            <p:cNvSpPr/>
            <p:nvPr/>
          </p:nvSpPr>
          <p:spPr bwMode="auto">
            <a:xfrm>
              <a:off x="9955394" y="4479659"/>
              <a:ext cx="174353" cy="123436"/>
            </a:xfrm>
            <a:custGeom>
              <a:avLst/>
              <a:gdLst>
                <a:gd name="T0" fmla="*/ 43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1 w 48"/>
                <a:gd name="T7" fmla="*/ 34 h 34"/>
                <a:gd name="T8" fmla="*/ 43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3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6"/>
                    <a:pt x="21" y="34"/>
                    <a:pt x="31" y="34"/>
                  </a:cubicBezTo>
                  <a:cubicBezTo>
                    <a:pt x="42" y="34"/>
                    <a:pt x="48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060EDFED-5BC3-41CB-9A16-F56005EC1784}"/>
                </a:ext>
              </a:extLst>
            </p:cNvPr>
            <p:cNvSpPr/>
            <p:nvPr/>
          </p:nvSpPr>
          <p:spPr bwMode="auto">
            <a:xfrm>
              <a:off x="10129746" y="4479659"/>
              <a:ext cx="175896" cy="123436"/>
            </a:xfrm>
            <a:custGeom>
              <a:avLst/>
              <a:gdLst>
                <a:gd name="T0" fmla="*/ 44 w 48"/>
                <a:gd name="T1" fmla="*/ 17 h 34"/>
                <a:gd name="T2" fmla="*/ 16 w 48"/>
                <a:gd name="T3" fmla="*/ 0 h 34"/>
                <a:gd name="T4" fmla="*/ 4 w 48"/>
                <a:gd name="T5" fmla="*/ 17 h 34"/>
                <a:gd name="T6" fmla="*/ 32 w 48"/>
                <a:gd name="T7" fmla="*/ 34 h 34"/>
                <a:gd name="T8" fmla="*/ 44 w 48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4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1" y="34"/>
                    <a:pt x="32" y="34"/>
                  </a:cubicBezTo>
                  <a:cubicBezTo>
                    <a:pt x="43" y="34"/>
                    <a:pt x="48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E75C33B0-B019-4651-8DF4-097B3E1E0110}"/>
                </a:ext>
              </a:extLst>
            </p:cNvPr>
            <p:cNvSpPr/>
            <p:nvPr/>
          </p:nvSpPr>
          <p:spPr bwMode="auto">
            <a:xfrm>
              <a:off x="10305642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4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54BCED1A-90A4-46A4-997E-DBD4C451C0B0}"/>
                </a:ext>
              </a:extLst>
            </p:cNvPr>
            <p:cNvSpPr/>
            <p:nvPr/>
          </p:nvSpPr>
          <p:spPr bwMode="auto">
            <a:xfrm>
              <a:off x="10479995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6 w 49"/>
                <a:gd name="T3" fmla="*/ 0 h 34"/>
                <a:gd name="T4" fmla="*/ 5 w 49"/>
                <a:gd name="T5" fmla="*/ 17 h 34"/>
                <a:gd name="T6" fmla="*/ 33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9" y="26"/>
                    <a:pt x="22" y="34"/>
                    <a:pt x="33" y="34"/>
                  </a:cubicBezTo>
                  <a:cubicBezTo>
                    <a:pt x="44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35CC162D-A281-4BA6-B0E5-F4EB20ACE67A}"/>
                </a:ext>
              </a:extLst>
            </p:cNvPr>
            <p:cNvSpPr/>
            <p:nvPr/>
          </p:nvSpPr>
          <p:spPr bwMode="auto">
            <a:xfrm>
              <a:off x="10655891" y="4479659"/>
              <a:ext cx="178982" cy="123436"/>
            </a:xfrm>
            <a:custGeom>
              <a:avLst/>
              <a:gdLst>
                <a:gd name="T0" fmla="*/ 44 w 49"/>
                <a:gd name="T1" fmla="*/ 17 h 34"/>
                <a:gd name="T2" fmla="*/ 15 w 49"/>
                <a:gd name="T3" fmla="*/ 0 h 34"/>
                <a:gd name="T4" fmla="*/ 5 w 49"/>
                <a:gd name="T5" fmla="*/ 17 h 34"/>
                <a:gd name="T6" fmla="*/ 34 w 49"/>
                <a:gd name="T7" fmla="*/ 34 h 34"/>
                <a:gd name="T8" fmla="*/ 44 w 49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49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7C1830E6-0C7A-4F68-B860-8DB6F41575C7}"/>
                </a:ext>
              </a:extLst>
            </p:cNvPr>
            <p:cNvSpPr/>
            <p:nvPr/>
          </p:nvSpPr>
          <p:spPr bwMode="auto">
            <a:xfrm>
              <a:off x="10830244" y="4479659"/>
              <a:ext cx="183611" cy="123436"/>
            </a:xfrm>
            <a:custGeom>
              <a:avLst/>
              <a:gdLst>
                <a:gd name="T0" fmla="*/ 44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4 w 50"/>
                <a:gd name="T7" fmla="*/ 34 h 34"/>
                <a:gd name="T8" fmla="*/ 44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4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6"/>
                    <a:pt x="23" y="34"/>
                    <a:pt x="34" y="34"/>
                  </a:cubicBezTo>
                  <a:cubicBezTo>
                    <a:pt x="45" y="34"/>
                    <a:pt x="50" y="26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2764C02C-4826-4AC8-9C37-4588415CDE95}"/>
                </a:ext>
              </a:extLst>
            </p:cNvPr>
            <p:cNvSpPr/>
            <p:nvPr/>
          </p:nvSpPr>
          <p:spPr bwMode="auto">
            <a:xfrm>
              <a:off x="11006140" y="4479659"/>
              <a:ext cx="182068" cy="123436"/>
            </a:xfrm>
            <a:custGeom>
              <a:avLst/>
              <a:gdLst>
                <a:gd name="T0" fmla="*/ 45 w 50"/>
                <a:gd name="T1" fmla="*/ 17 h 34"/>
                <a:gd name="T2" fmla="*/ 15 w 50"/>
                <a:gd name="T3" fmla="*/ 0 h 34"/>
                <a:gd name="T4" fmla="*/ 5 w 50"/>
                <a:gd name="T5" fmla="*/ 17 h 34"/>
                <a:gd name="T6" fmla="*/ 35 w 50"/>
                <a:gd name="T7" fmla="*/ 34 h 34"/>
                <a:gd name="T8" fmla="*/ 45 w 50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0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5C852BBA-4C70-4514-8EDC-829C1EB21DD9}"/>
                </a:ext>
              </a:extLst>
            </p:cNvPr>
            <p:cNvSpPr/>
            <p:nvPr/>
          </p:nvSpPr>
          <p:spPr bwMode="auto">
            <a:xfrm>
              <a:off x="11180493" y="4479659"/>
              <a:ext cx="186697" cy="123436"/>
            </a:xfrm>
            <a:custGeom>
              <a:avLst/>
              <a:gdLst>
                <a:gd name="T0" fmla="*/ 45 w 51"/>
                <a:gd name="T1" fmla="*/ 17 h 34"/>
                <a:gd name="T2" fmla="*/ 15 w 51"/>
                <a:gd name="T3" fmla="*/ 0 h 34"/>
                <a:gd name="T4" fmla="*/ 6 w 51"/>
                <a:gd name="T5" fmla="*/ 17 h 34"/>
                <a:gd name="T6" fmla="*/ 35 w 51"/>
                <a:gd name="T7" fmla="*/ 34 h 34"/>
                <a:gd name="T8" fmla="*/ 45 w 51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4">
                  <a:moveTo>
                    <a:pt x="45" y="17"/>
                  </a:moveTo>
                  <a:cubicBezTo>
                    <a:pt x="39" y="8"/>
                    <a:pt x="26" y="0"/>
                    <a:pt x="15" y="0"/>
                  </a:cubicBezTo>
                  <a:cubicBezTo>
                    <a:pt x="4" y="0"/>
                    <a:pt x="0" y="8"/>
                    <a:pt x="6" y="17"/>
                  </a:cubicBezTo>
                  <a:cubicBezTo>
                    <a:pt x="11" y="26"/>
                    <a:pt x="24" y="34"/>
                    <a:pt x="35" y="34"/>
                  </a:cubicBezTo>
                  <a:cubicBezTo>
                    <a:pt x="46" y="34"/>
                    <a:pt x="51" y="26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4468E04A-CB82-4D8E-A91A-E640E318D935}"/>
                </a:ext>
              </a:extLst>
            </p:cNvPr>
            <p:cNvSpPr/>
            <p:nvPr/>
          </p:nvSpPr>
          <p:spPr bwMode="auto">
            <a:xfrm>
              <a:off x="9845844" y="4629324"/>
              <a:ext cx="174353" cy="128065"/>
            </a:xfrm>
            <a:custGeom>
              <a:avLst/>
              <a:gdLst>
                <a:gd name="T0" fmla="*/ 44 w 48"/>
                <a:gd name="T1" fmla="*/ 17 h 35"/>
                <a:gd name="T2" fmla="*/ 16 w 48"/>
                <a:gd name="T3" fmla="*/ 0 h 35"/>
                <a:gd name="T4" fmla="*/ 4 w 48"/>
                <a:gd name="T5" fmla="*/ 17 h 35"/>
                <a:gd name="T6" fmla="*/ 32 w 48"/>
                <a:gd name="T7" fmla="*/ 35 h 35"/>
                <a:gd name="T8" fmla="*/ 44 w 48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5">
                  <a:moveTo>
                    <a:pt x="44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8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F288FC54-8DAE-4562-8863-91A716E54C7C}"/>
                </a:ext>
              </a:extLst>
            </p:cNvPr>
            <p:cNvSpPr/>
            <p:nvPr/>
          </p:nvSpPr>
          <p:spPr bwMode="auto">
            <a:xfrm>
              <a:off x="10024826" y="4629324"/>
              <a:ext cx="178982" cy="128065"/>
            </a:xfrm>
            <a:custGeom>
              <a:avLst/>
              <a:gdLst>
                <a:gd name="T0" fmla="*/ 44 w 49"/>
                <a:gd name="T1" fmla="*/ 17 h 35"/>
                <a:gd name="T2" fmla="*/ 16 w 49"/>
                <a:gd name="T3" fmla="*/ 0 h 35"/>
                <a:gd name="T4" fmla="*/ 4 w 49"/>
                <a:gd name="T5" fmla="*/ 17 h 35"/>
                <a:gd name="T6" fmla="*/ 32 w 49"/>
                <a:gd name="T7" fmla="*/ 35 h 35"/>
                <a:gd name="T8" fmla="*/ 44 w 49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5">
                  <a:moveTo>
                    <a:pt x="44" y="17"/>
                  </a:moveTo>
                  <a:cubicBezTo>
                    <a:pt x="39" y="8"/>
                    <a:pt x="27" y="0"/>
                    <a:pt x="16" y="0"/>
                  </a:cubicBezTo>
                  <a:cubicBezTo>
                    <a:pt x="5" y="0"/>
                    <a:pt x="0" y="8"/>
                    <a:pt x="4" y="17"/>
                  </a:cubicBezTo>
                  <a:cubicBezTo>
                    <a:pt x="8" y="27"/>
                    <a:pt x="21" y="35"/>
                    <a:pt x="32" y="35"/>
                  </a:cubicBezTo>
                  <a:cubicBezTo>
                    <a:pt x="43" y="35"/>
                    <a:pt x="49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43AE8551-9658-49E2-BA5A-06F94E22D04E}"/>
                </a:ext>
              </a:extLst>
            </p:cNvPr>
            <p:cNvSpPr/>
            <p:nvPr/>
          </p:nvSpPr>
          <p:spPr bwMode="auto">
            <a:xfrm>
              <a:off x="10199179" y="4629324"/>
              <a:ext cx="183611" cy="128065"/>
            </a:xfrm>
            <a:custGeom>
              <a:avLst/>
              <a:gdLst>
                <a:gd name="T0" fmla="*/ 45 w 50"/>
                <a:gd name="T1" fmla="*/ 17 h 35"/>
                <a:gd name="T2" fmla="*/ 17 w 50"/>
                <a:gd name="T3" fmla="*/ 0 h 35"/>
                <a:gd name="T4" fmla="*/ 5 w 50"/>
                <a:gd name="T5" fmla="*/ 17 h 35"/>
                <a:gd name="T6" fmla="*/ 33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8" y="0"/>
                    <a:pt x="17" y="0"/>
                  </a:cubicBezTo>
                  <a:cubicBezTo>
                    <a:pt x="6" y="0"/>
                    <a:pt x="0" y="8"/>
                    <a:pt x="5" y="17"/>
                  </a:cubicBezTo>
                  <a:cubicBezTo>
                    <a:pt x="10" y="27"/>
                    <a:pt x="22" y="35"/>
                    <a:pt x="33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76D8CE2C-13D9-48F9-A504-CEBFA6121AA0}"/>
                </a:ext>
              </a:extLst>
            </p:cNvPr>
            <p:cNvSpPr/>
            <p:nvPr/>
          </p:nvSpPr>
          <p:spPr bwMode="auto">
            <a:xfrm>
              <a:off x="10378161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0A0F5E8C-DC63-4820-9F50-D935706E7A39}"/>
                </a:ext>
              </a:extLst>
            </p:cNvPr>
            <p:cNvSpPr/>
            <p:nvPr/>
          </p:nvSpPr>
          <p:spPr bwMode="auto">
            <a:xfrm>
              <a:off x="10557143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4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4" y="35"/>
                  </a:cubicBezTo>
                  <a:cubicBezTo>
                    <a:pt x="45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AF6B9B5E-C0F1-4B0E-AABB-414260C213C1}"/>
                </a:ext>
              </a:extLst>
            </p:cNvPr>
            <p:cNvSpPr/>
            <p:nvPr/>
          </p:nvSpPr>
          <p:spPr bwMode="auto">
            <a:xfrm>
              <a:off x="10736125" y="4629324"/>
              <a:ext cx="182068" cy="128065"/>
            </a:xfrm>
            <a:custGeom>
              <a:avLst/>
              <a:gdLst>
                <a:gd name="T0" fmla="*/ 45 w 50"/>
                <a:gd name="T1" fmla="*/ 17 h 35"/>
                <a:gd name="T2" fmla="*/ 16 w 50"/>
                <a:gd name="T3" fmla="*/ 0 h 35"/>
                <a:gd name="T4" fmla="*/ 5 w 50"/>
                <a:gd name="T5" fmla="*/ 17 h 35"/>
                <a:gd name="T6" fmla="*/ 35 w 50"/>
                <a:gd name="T7" fmla="*/ 35 h 35"/>
                <a:gd name="T8" fmla="*/ 45 w 50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5">
                  <a:moveTo>
                    <a:pt x="45" y="17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7"/>
                  </a:cubicBezTo>
                  <a:cubicBezTo>
                    <a:pt x="10" y="27"/>
                    <a:pt x="23" y="35"/>
                    <a:pt x="35" y="35"/>
                  </a:cubicBezTo>
                  <a:cubicBezTo>
                    <a:pt x="46" y="35"/>
                    <a:pt x="50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E4B77688-1819-45A6-9A26-B4DD05FABB80}"/>
                </a:ext>
              </a:extLst>
            </p:cNvPr>
            <p:cNvSpPr/>
            <p:nvPr/>
          </p:nvSpPr>
          <p:spPr bwMode="auto">
            <a:xfrm>
              <a:off x="10915106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0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177C2835-FC91-4B63-B869-C2E2D81889DE}"/>
                </a:ext>
              </a:extLst>
            </p:cNvPr>
            <p:cNvSpPr/>
            <p:nvPr/>
          </p:nvSpPr>
          <p:spPr bwMode="auto">
            <a:xfrm>
              <a:off x="11094088" y="4629324"/>
              <a:ext cx="185154" cy="128065"/>
            </a:xfrm>
            <a:custGeom>
              <a:avLst/>
              <a:gdLst>
                <a:gd name="T0" fmla="*/ 45 w 51"/>
                <a:gd name="T1" fmla="*/ 17 h 35"/>
                <a:gd name="T2" fmla="*/ 15 w 51"/>
                <a:gd name="T3" fmla="*/ 0 h 35"/>
                <a:gd name="T4" fmla="*/ 5 w 51"/>
                <a:gd name="T5" fmla="*/ 17 h 35"/>
                <a:gd name="T6" fmla="*/ 35 w 51"/>
                <a:gd name="T7" fmla="*/ 35 h 35"/>
                <a:gd name="T8" fmla="*/ 45 w 51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5">
                  <a:moveTo>
                    <a:pt x="45" y="17"/>
                  </a:moveTo>
                  <a:cubicBezTo>
                    <a:pt x="40" y="8"/>
                    <a:pt x="26" y="0"/>
                    <a:pt x="15" y="0"/>
                  </a:cubicBezTo>
                  <a:cubicBezTo>
                    <a:pt x="4" y="0"/>
                    <a:pt x="0" y="8"/>
                    <a:pt x="5" y="17"/>
                  </a:cubicBezTo>
                  <a:cubicBezTo>
                    <a:pt x="11" y="27"/>
                    <a:pt x="24" y="35"/>
                    <a:pt x="35" y="35"/>
                  </a:cubicBezTo>
                  <a:cubicBezTo>
                    <a:pt x="46" y="35"/>
                    <a:pt x="51" y="27"/>
                    <a:pt x="45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92478815-C534-45EE-B6D4-4840F9791802}"/>
                </a:ext>
              </a:extLst>
            </p:cNvPr>
            <p:cNvSpPr/>
            <p:nvPr/>
          </p:nvSpPr>
          <p:spPr bwMode="auto">
            <a:xfrm>
              <a:off x="9910648" y="4783619"/>
              <a:ext cx="183611" cy="131151"/>
            </a:xfrm>
            <a:custGeom>
              <a:avLst/>
              <a:gdLst>
                <a:gd name="T0" fmla="*/ 45 w 50"/>
                <a:gd name="T1" fmla="*/ 18 h 36"/>
                <a:gd name="T2" fmla="*/ 17 w 50"/>
                <a:gd name="T3" fmla="*/ 0 h 36"/>
                <a:gd name="T4" fmla="*/ 5 w 50"/>
                <a:gd name="T5" fmla="*/ 18 h 36"/>
                <a:gd name="T6" fmla="*/ 33 w 50"/>
                <a:gd name="T7" fmla="*/ 36 h 36"/>
                <a:gd name="T8" fmla="*/ 45 w 50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36">
                  <a:moveTo>
                    <a:pt x="45" y="18"/>
                  </a:moveTo>
                  <a:cubicBezTo>
                    <a:pt x="41" y="8"/>
                    <a:pt x="28" y="0"/>
                    <a:pt x="17" y="0"/>
                  </a:cubicBezTo>
                  <a:cubicBezTo>
                    <a:pt x="6" y="0"/>
                    <a:pt x="0" y="8"/>
                    <a:pt x="5" y="18"/>
                  </a:cubicBezTo>
                  <a:cubicBezTo>
                    <a:pt x="9" y="28"/>
                    <a:pt x="22" y="36"/>
                    <a:pt x="33" y="36"/>
                  </a:cubicBezTo>
                  <a:cubicBezTo>
                    <a:pt x="44" y="36"/>
                    <a:pt x="50" y="28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1591A067-F551-4126-A8C3-68933F316451}"/>
                </a:ext>
              </a:extLst>
            </p:cNvPr>
            <p:cNvSpPr/>
            <p:nvPr/>
          </p:nvSpPr>
          <p:spPr bwMode="auto">
            <a:xfrm>
              <a:off x="10819444" y="4783619"/>
              <a:ext cx="186697" cy="131151"/>
            </a:xfrm>
            <a:custGeom>
              <a:avLst/>
              <a:gdLst>
                <a:gd name="T0" fmla="*/ 46 w 51"/>
                <a:gd name="T1" fmla="*/ 18 h 36"/>
                <a:gd name="T2" fmla="*/ 16 w 51"/>
                <a:gd name="T3" fmla="*/ 0 h 36"/>
                <a:gd name="T4" fmla="*/ 5 w 51"/>
                <a:gd name="T5" fmla="*/ 18 h 36"/>
                <a:gd name="T6" fmla="*/ 35 w 51"/>
                <a:gd name="T7" fmla="*/ 36 h 36"/>
                <a:gd name="T8" fmla="*/ 46 w 51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36">
                  <a:moveTo>
                    <a:pt x="46" y="18"/>
                  </a:moveTo>
                  <a:cubicBezTo>
                    <a:pt x="40" y="8"/>
                    <a:pt x="27" y="0"/>
                    <a:pt x="16" y="0"/>
                  </a:cubicBezTo>
                  <a:cubicBezTo>
                    <a:pt x="5" y="0"/>
                    <a:pt x="0" y="8"/>
                    <a:pt x="5" y="18"/>
                  </a:cubicBezTo>
                  <a:cubicBezTo>
                    <a:pt x="10" y="28"/>
                    <a:pt x="24" y="36"/>
                    <a:pt x="35" y="36"/>
                  </a:cubicBezTo>
                  <a:cubicBezTo>
                    <a:pt x="47" y="36"/>
                    <a:pt x="51" y="28"/>
                    <a:pt x="46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0AF68F90-BA77-42A9-B806-2D09B3F0C415}"/>
                </a:ext>
              </a:extLst>
            </p:cNvPr>
            <p:cNvSpPr/>
            <p:nvPr/>
          </p:nvSpPr>
          <p:spPr bwMode="auto">
            <a:xfrm>
              <a:off x="10998426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6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8"/>
                    <a:pt x="25" y="36"/>
                    <a:pt x="36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A9DD6F31-39AA-4D17-A2BE-29DB28DEF5A9}"/>
                </a:ext>
              </a:extLst>
            </p:cNvPr>
            <p:cNvSpPr/>
            <p:nvPr/>
          </p:nvSpPr>
          <p:spPr bwMode="auto">
            <a:xfrm>
              <a:off x="11180493" y="4783619"/>
              <a:ext cx="189783" cy="131151"/>
            </a:xfrm>
            <a:custGeom>
              <a:avLst/>
              <a:gdLst>
                <a:gd name="T0" fmla="*/ 47 w 52"/>
                <a:gd name="T1" fmla="*/ 18 h 36"/>
                <a:gd name="T2" fmla="*/ 16 w 52"/>
                <a:gd name="T3" fmla="*/ 0 h 36"/>
                <a:gd name="T4" fmla="*/ 6 w 52"/>
                <a:gd name="T5" fmla="*/ 18 h 36"/>
                <a:gd name="T6" fmla="*/ 37 w 52"/>
                <a:gd name="T7" fmla="*/ 36 h 36"/>
                <a:gd name="T8" fmla="*/ 47 w 52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6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2" y="28"/>
                    <a:pt x="25" y="36"/>
                    <a:pt x="37" y="36"/>
                  </a:cubicBezTo>
                  <a:cubicBezTo>
                    <a:pt x="48" y="36"/>
                    <a:pt x="52" y="28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DE5E5729-4D59-4574-90A8-80B46123FAB6}"/>
                </a:ext>
              </a:extLst>
            </p:cNvPr>
            <p:cNvSpPr/>
            <p:nvPr/>
          </p:nvSpPr>
          <p:spPr bwMode="auto">
            <a:xfrm>
              <a:off x="11089459" y="4944086"/>
              <a:ext cx="194411" cy="134237"/>
            </a:xfrm>
            <a:custGeom>
              <a:avLst/>
              <a:gdLst>
                <a:gd name="T0" fmla="*/ 47 w 53"/>
                <a:gd name="T1" fmla="*/ 18 h 37"/>
                <a:gd name="T2" fmla="*/ 16 w 53"/>
                <a:gd name="T3" fmla="*/ 0 h 37"/>
                <a:gd name="T4" fmla="*/ 6 w 53"/>
                <a:gd name="T5" fmla="*/ 18 h 37"/>
                <a:gd name="T6" fmla="*/ 37 w 53"/>
                <a:gd name="T7" fmla="*/ 37 h 37"/>
                <a:gd name="T8" fmla="*/ 47 w 53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37">
                  <a:moveTo>
                    <a:pt x="47" y="18"/>
                  </a:moveTo>
                  <a:cubicBezTo>
                    <a:pt x="41" y="8"/>
                    <a:pt x="27" y="0"/>
                    <a:pt x="16" y="0"/>
                  </a:cubicBezTo>
                  <a:cubicBezTo>
                    <a:pt x="5" y="0"/>
                    <a:pt x="0" y="8"/>
                    <a:pt x="6" y="18"/>
                  </a:cubicBezTo>
                  <a:cubicBezTo>
                    <a:pt x="11" y="29"/>
                    <a:pt x="25" y="37"/>
                    <a:pt x="37" y="37"/>
                  </a:cubicBezTo>
                  <a:cubicBezTo>
                    <a:pt x="48" y="37"/>
                    <a:pt x="53" y="29"/>
                    <a:pt x="47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2E5716B5-7E8D-4DB8-93EA-49EA7DC08750}"/>
                </a:ext>
              </a:extLst>
            </p:cNvPr>
            <p:cNvSpPr/>
            <p:nvPr/>
          </p:nvSpPr>
          <p:spPr bwMode="auto">
            <a:xfrm>
              <a:off x="11180493" y="5107638"/>
              <a:ext cx="197497" cy="138865"/>
            </a:xfrm>
            <a:custGeom>
              <a:avLst/>
              <a:gdLst>
                <a:gd name="T0" fmla="*/ 48 w 54"/>
                <a:gd name="T1" fmla="*/ 19 h 38"/>
                <a:gd name="T2" fmla="*/ 17 w 54"/>
                <a:gd name="T3" fmla="*/ 0 h 38"/>
                <a:gd name="T4" fmla="*/ 6 w 54"/>
                <a:gd name="T5" fmla="*/ 19 h 38"/>
                <a:gd name="T6" fmla="*/ 38 w 54"/>
                <a:gd name="T7" fmla="*/ 38 h 38"/>
                <a:gd name="T8" fmla="*/ 48 w 54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" h="38">
                  <a:moveTo>
                    <a:pt x="48" y="19"/>
                  </a:moveTo>
                  <a:cubicBezTo>
                    <a:pt x="42" y="9"/>
                    <a:pt x="28" y="0"/>
                    <a:pt x="17" y="0"/>
                  </a:cubicBezTo>
                  <a:cubicBezTo>
                    <a:pt x="5" y="0"/>
                    <a:pt x="0" y="9"/>
                    <a:pt x="6" y="19"/>
                  </a:cubicBezTo>
                  <a:cubicBezTo>
                    <a:pt x="12" y="30"/>
                    <a:pt x="26" y="38"/>
                    <a:pt x="38" y="38"/>
                  </a:cubicBezTo>
                  <a:cubicBezTo>
                    <a:pt x="50" y="38"/>
                    <a:pt x="54" y="30"/>
                    <a:pt x="48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1313F205-4698-443A-98FA-4CBB6ADF5E16}"/>
                </a:ext>
              </a:extLst>
            </p:cNvPr>
            <p:cNvSpPr/>
            <p:nvPr/>
          </p:nvSpPr>
          <p:spPr bwMode="auto">
            <a:xfrm>
              <a:off x="2999791" y="2907396"/>
              <a:ext cx="135779" cy="84863"/>
            </a:xfrm>
            <a:custGeom>
              <a:avLst/>
              <a:gdLst>
                <a:gd name="T0" fmla="*/ 34 w 37"/>
                <a:gd name="T1" fmla="*/ 11 h 23"/>
                <a:gd name="T2" fmla="*/ 22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4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4" y="11"/>
                  </a:moveTo>
                  <a:cubicBezTo>
                    <a:pt x="37" y="5"/>
                    <a:pt x="31" y="0"/>
                    <a:pt x="22" y="0"/>
                  </a:cubicBezTo>
                  <a:cubicBezTo>
                    <a:pt x="13" y="0"/>
                    <a:pt x="4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2" y="18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D8ECBE63-2B58-45E7-A049-602B4576459D}"/>
                </a:ext>
              </a:extLst>
            </p:cNvPr>
            <p:cNvSpPr/>
            <p:nvPr/>
          </p:nvSpPr>
          <p:spPr bwMode="auto">
            <a:xfrm>
              <a:off x="2959674" y="3010774"/>
              <a:ext cx="135779" cy="83319"/>
            </a:xfrm>
            <a:custGeom>
              <a:avLst/>
              <a:gdLst>
                <a:gd name="T0" fmla="*/ 35 w 37"/>
                <a:gd name="T1" fmla="*/ 11 h 23"/>
                <a:gd name="T2" fmla="*/ 23 w 37"/>
                <a:gd name="T3" fmla="*/ 0 h 23"/>
                <a:gd name="T4" fmla="*/ 2 w 37"/>
                <a:gd name="T5" fmla="*/ 11 h 23"/>
                <a:gd name="T6" fmla="*/ 14 w 37"/>
                <a:gd name="T7" fmla="*/ 23 h 23"/>
                <a:gd name="T8" fmla="*/ 35 w 37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3">
                  <a:moveTo>
                    <a:pt x="35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E6522F00-152D-4702-B43D-667DB056F8BA}"/>
                </a:ext>
              </a:extLst>
            </p:cNvPr>
            <p:cNvSpPr/>
            <p:nvPr/>
          </p:nvSpPr>
          <p:spPr bwMode="auto">
            <a:xfrm>
              <a:off x="3106254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3 w 38"/>
                <a:gd name="T3" fmla="*/ 0 h 23"/>
                <a:gd name="T4" fmla="*/ 3 w 38"/>
                <a:gd name="T5" fmla="*/ 11 h 23"/>
                <a:gd name="T6" fmla="*/ 15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8"/>
                    <a:pt x="6" y="23"/>
                    <a:pt x="15" y="23"/>
                  </a:cubicBezTo>
                  <a:cubicBezTo>
                    <a:pt x="24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24716C82-02D5-4BAA-9021-EFE241D7A934}"/>
                </a:ext>
              </a:extLst>
            </p:cNvPr>
            <p:cNvSpPr/>
            <p:nvPr/>
          </p:nvSpPr>
          <p:spPr bwMode="auto">
            <a:xfrm>
              <a:off x="3660172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3 w 43"/>
                <a:gd name="T5" fmla="*/ 16 h 32"/>
                <a:gd name="T6" fmla="*/ 18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9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2855058D-2ADC-41D5-B54D-36054ECF7CC5}"/>
                </a:ext>
              </a:extLst>
            </p:cNvPr>
            <p:cNvSpPr/>
            <p:nvPr/>
          </p:nvSpPr>
          <p:spPr bwMode="auto">
            <a:xfrm>
              <a:off x="3510506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66CC1D32-B285-4220-BF7E-2F5D2D26F8EF}"/>
                </a:ext>
              </a:extLst>
            </p:cNvPr>
            <p:cNvSpPr/>
            <p:nvPr/>
          </p:nvSpPr>
          <p:spPr bwMode="auto">
            <a:xfrm>
              <a:off x="2941159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4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1F986C15-D15C-4A4F-8B09-929E52B9205D}"/>
                </a:ext>
              </a:extLst>
            </p:cNvPr>
            <p:cNvSpPr/>
            <p:nvPr/>
          </p:nvSpPr>
          <p:spPr bwMode="auto">
            <a:xfrm>
              <a:off x="3076938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4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0ABDF128-3883-449E-A1CC-1814E324C54D}"/>
                </a:ext>
              </a:extLst>
            </p:cNvPr>
            <p:cNvSpPr/>
            <p:nvPr/>
          </p:nvSpPr>
          <p:spPr bwMode="auto">
            <a:xfrm>
              <a:off x="3212717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731B1B51-E2EE-46C9-8096-CC79566CCFA1}"/>
                </a:ext>
              </a:extLst>
            </p:cNvPr>
            <p:cNvSpPr/>
            <p:nvPr/>
          </p:nvSpPr>
          <p:spPr bwMode="auto">
            <a:xfrm>
              <a:off x="3346953" y="2356565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E22901F8-19B5-4900-851F-F1CA8BAFC10A}"/>
                </a:ext>
              </a:extLst>
            </p:cNvPr>
            <p:cNvSpPr/>
            <p:nvPr/>
          </p:nvSpPr>
          <p:spPr bwMode="auto">
            <a:xfrm>
              <a:off x="3482732" y="2356565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3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A6B155D8-C0EC-45A0-8F69-05C111A43AB3}"/>
                </a:ext>
              </a:extLst>
            </p:cNvPr>
            <p:cNvSpPr/>
            <p:nvPr/>
          </p:nvSpPr>
          <p:spPr bwMode="auto">
            <a:xfrm>
              <a:off x="3616969" y="2356565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1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2" y="19"/>
                    <a:pt x="30" y="15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79983A1F-936E-45DC-B474-95E439CA3D4A}"/>
                </a:ext>
              </a:extLst>
            </p:cNvPr>
            <p:cNvSpPr/>
            <p:nvPr/>
          </p:nvSpPr>
          <p:spPr bwMode="auto">
            <a:xfrm>
              <a:off x="2905670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3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6836C5D9-B67C-4EDA-AD65-442B9D2907BA}"/>
                </a:ext>
              </a:extLst>
            </p:cNvPr>
            <p:cNvSpPr/>
            <p:nvPr/>
          </p:nvSpPr>
          <p:spPr bwMode="auto">
            <a:xfrm>
              <a:off x="3044536" y="2439884"/>
              <a:ext cx="123436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3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20F1A5B4-1AEB-4955-A29F-4A34FDE0D817}"/>
                </a:ext>
              </a:extLst>
            </p:cNvPr>
            <p:cNvSpPr/>
            <p:nvPr/>
          </p:nvSpPr>
          <p:spPr bwMode="auto">
            <a:xfrm>
              <a:off x="3178772" y="2439884"/>
              <a:ext cx="124979" cy="74061"/>
            </a:xfrm>
            <a:custGeom>
              <a:avLst/>
              <a:gdLst>
                <a:gd name="T0" fmla="*/ 32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2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2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0" y="16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DAE01739-F47C-470D-857F-0D648FA74717}"/>
                </a:ext>
              </a:extLst>
            </p:cNvPr>
            <p:cNvSpPr/>
            <p:nvPr/>
          </p:nvSpPr>
          <p:spPr bwMode="auto">
            <a:xfrm>
              <a:off x="3314552" y="2439884"/>
              <a:ext cx="123436" cy="74061"/>
            </a:xfrm>
            <a:custGeom>
              <a:avLst/>
              <a:gdLst>
                <a:gd name="T0" fmla="*/ 33 w 34"/>
                <a:gd name="T1" fmla="*/ 10 h 20"/>
                <a:gd name="T2" fmla="*/ 21 w 34"/>
                <a:gd name="T3" fmla="*/ 0 h 20"/>
                <a:gd name="T4" fmla="*/ 2 w 34"/>
                <a:gd name="T5" fmla="*/ 10 h 20"/>
                <a:gd name="T6" fmla="*/ 14 w 34"/>
                <a:gd name="T7" fmla="*/ 20 h 20"/>
                <a:gd name="T8" fmla="*/ 33 w 34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0">
                  <a:moveTo>
                    <a:pt x="33" y="10"/>
                  </a:moveTo>
                  <a:cubicBezTo>
                    <a:pt x="34" y="5"/>
                    <a:pt x="29" y="0"/>
                    <a:pt x="21" y="0"/>
                  </a:cubicBezTo>
                  <a:cubicBezTo>
                    <a:pt x="13" y="0"/>
                    <a:pt x="4" y="5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D7FAB86B-F8DE-43FA-9D17-89570B6520C9}"/>
                </a:ext>
              </a:extLst>
            </p:cNvPr>
            <p:cNvSpPr/>
            <p:nvPr/>
          </p:nvSpPr>
          <p:spPr bwMode="auto">
            <a:xfrm>
              <a:off x="2868640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1A899F68-B3C1-4D79-ABB1-70E4AD5FEDE5}"/>
                </a:ext>
              </a:extLst>
            </p:cNvPr>
            <p:cNvSpPr/>
            <p:nvPr/>
          </p:nvSpPr>
          <p:spPr bwMode="auto">
            <a:xfrm>
              <a:off x="3007505" y="2532461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1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91FD78EB-8958-4144-8EDB-3B0002D88EF8}"/>
                </a:ext>
              </a:extLst>
            </p:cNvPr>
            <p:cNvSpPr/>
            <p:nvPr/>
          </p:nvSpPr>
          <p:spPr bwMode="auto">
            <a:xfrm>
              <a:off x="3146370" y="2532461"/>
              <a:ext cx="128065" cy="72519"/>
            </a:xfrm>
            <a:custGeom>
              <a:avLst/>
              <a:gdLst>
                <a:gd name="T0" fmla="*/ 32 w 35"/>
                <a:gd name="T1" fmla="*/ 10 h 20"/>
                <a:gd name="T2" fmla="*/ 21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2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2" y="10"/>
                  </a:moveTo>
                  <a:cubicBezTo>
                    <a:pt x="35" y="4"/>
                    <a:pt x="29" y="0"/>
                    <a:pt x="21" y="0"/>
                  </a:cubicBezTo>
                  <a:cubicBezTo>
                    <a:pt x="12" y="0"/>
                    <a:pt x="4" y="4"/>
                    <a:pt x="2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0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0FBA8EE8-10BF-4548-99D4-062744DE2DE6}"/>
                </a:ext>
              </a:extLst>
            </p:cNvPr>
            <p:cNvSpPr/>
            <p:nvPr/>
          </p:nvSpPr>
          <p:spPr bwMode="auto">
            <a:xfrm>
              <a:off x="2828523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3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46DDA3B8-A3B1-40E2-B3FF-B220F7B97B9E}"/>
                </a:ext>
              </a:extLst>
            </p:cNvPr>
            <p:cNvSpPr/>
            <p:nvPr/>
          </p:nvSpPr>
          <p:spPr bwMode="auto">
            <a:xfrm>
              <a:off x="2970474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D8998176-BA7B-4506-AF7F-59FBFD2E52FA}"/>
                </a:ext>
              </a:extLst>
            </p:cNvPr>
            <p:cNvSpPr/>
            <p:nvPr/>
          </p:nvSpPr>
          <p:spPr bwMode="auto">
            <a:xfrm>
              <a:off x="3109339" y="2623494"/>
              <a:ext cx="128065" cy="72519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4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4" y="4"/>
                    <a:pt x="2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A132958A-2031-4F49-8303-0BE20763BD27}"/>
                </a:ext>
              </a:extLst>
            </p:cNvPr>
            <p:cNvSpPr/>
            <p:nvPr/>
          </p:nvSpPr>
          <p:spPr bwMode="auto">
            <a:xfrm>
              <a:off x="2793036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74B7EA67-8882-4BC8-92FD-95F603AA15FD}"/>
                </a:ext>
              </a:extLst>
            </p:cNvPr>
            <p:cNvSpPr/>
            <p:nvPr/>
          </p:nvSpPr>
          <p:spPr bwMode="auto">
            <a:xfrm>
              <a:off x="2930358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1" y="0"/>
                    <a:pt x="23" y="0"/>
                  </a:cubicBezTo>
                  <a:cubicBezTo>
                    <a:pt x="14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341A5D84-728A-4A72-85E0-D9C36AB44F61}"/>
                </a:ext>
              </a:extLst>
            </p:cNvPr>
            <p:cNvSpPr/>
            <p:nvPr/>
          </p:nvSpPr>
          <p:spPr bwMode="auto">
            <a:xfrm>
              <a:off x="2894870" y="2810191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2 w 36"/>
                <a:gd name="T3" fmla="*/ 0 h 22"/>
                <a:gd name="T4" fmla="*/ 2 w 36"/>
                <a:gd name="T5" fmla="*/ 11 h 22"/>
                <a:gd name="T6" fmla="*/ 14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2" y="0"/>
                  </a:cubicBezTo>
                  <a:cubicBezTo>
                    <a:pt x="14" y="0"/>
                    <a:pt x="4" y="5"/>
                    <a:pt x="2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2FD2B120-BB77-4E81-83AA-5C20242F4B18}"/>
                </a:ext>
              </a:extLst>
            </p:cNvPr>
            <p:cNvSpPr/>
            <p:nvPr/>
          </p:nvSpPr>
          <p:spPr bwMode="auto">
            <a:xfrm>
              <a:off x="2978189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47E7B8EE-7993-4B61-A4BC-5236C5D3AEFB}"/>
                </a:ext>
              </a:extLst>
            </p:cNvPr>
            <p:cNvSpPr/>
            <p:nvPr/>
          </p:nvSpPr>
          <p:spPr bwMode="auto">
            <a:xfrm>
              <a:off x="3113969" y="2271702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BFB988FB-2003-4FDF-97C4-2E3E18F4986C}"/>
                </a:ext>
              </a:extLst>
            </p:cNvPr>
            <p:cNvSpPr/>
            <p:nvPr/>
          </p:nvSpPr>
          <p:spPr bwMode="auto">
            <a:xfrm>
              <a:off x="3245119" y="2271702"/>
              <a:ext cx="120350" cy="69433"/>
            </a:xfrm>
            <a:custGeom>
              <a:avLst/>
              <a:gdLst>
                <a:gd name="T0" fmla="*/ 32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2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2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191C4988-0C99-4165-A811-040F9CD431C1}"/>
                </a:ext>
              </a:extLst>
            </p:cNvPr>
            <p:cNvSpPr/>
            <p:nvPr/>
          </p:nvSpPr>
          <p:spPr bwMode="auto">
            <a:xfrm>
              <a:off x="3376270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0 w 34"/>
                <a:gd name="T3" fmla="*/ 0 h 19"/>
                <a:gd name="T4" fmla="*/ 2 w 34"/>
                <a:gd name="T5" fmla="*/ 9 h 19"/>
                <a:gd name="T6" fmla="*/ 14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98B52574-B0FD-495B-A9CC-C2180205D12E}"/>
                </a:ext>
              </a:extLst>
            </p:cNvPr>
            <p:cNvSpPr/>
            <p:nvPr/>
          </p:nvSpPr>
          <p:spPr bwMode="auto">
            <a:xfrm>
              <a:off x="333615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0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DC9A8623-3B6F-49C9-B963-C604CD5337BF}"/>
                </a:ext>
              </a:extLst>
            </p:cNvPr>
            <p:cNvSpPr/>
            <p:nvPr/>
          </p:nvSpPr>
          <p:spPr bwMode="auto">
            <a:xfrm>
              <a:off x="3467303" y="2031003"/>
              <a:ext cx="112636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6" name="任意多边形: 形状 725">
              <a:extLst>
                <a:ext uri="{FF2B5EF4-FFF2-40B4-BE49-F238E27FC236}">
                  <a16:creationId xmlns:a16="http://schemas.microsoft.com/office/drawing/2014/main" id="{9FC189F9-24EC-42A2-9110-31464DEBA876}"/>
                </a:ext>
              </a:extLst>
            </p:cNvPr>
            <p:cNvSpPr/>
            <p:nvPr/>
          </p:nvSpPr>
          <p:spPr bwMode="auto">
            <a:xfrm>
              <a:off x="3306837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0 w 33"/>
                <a:gd name="T3" fmla="*/ 0 h 18"/>
                <a:gd name="T4" fmla="*/ 2 w 33"/>
                <a:gd name="T5" fmla="*/ 9 h 18"/>
                <a:gd name="T6" fmla="*/ 13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7" name="任意多边形: 形状 726">
              <a:extLst>
                <a:ext uri="{FF2B5EF4-FFF2-40B4-BE49-F238E27FC236}">
                  <a16:creationId xmlns:a16="http://schemas.microsoft.com/office/drawing/2014/main" id="{C1045781-5417-4AED-B005-1FE56EA1538D}"/>
                </a:ext>
              </a:extLst>
            </p:cNvPr>
            <p:cNvSpPr/>
            <p:nvPr/>
          </p:nvSpPr>
          <p:spPr bwMode="auto">
            <a:xfrm>
              <a:off x="3437988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9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8" name="任意多边形: 形状 727">
              <a:extLst>
                <a:ext uri="{FF2B5EF4-FFF2-40B4-BE49-F238E27FC236}">
                  <a16:creationId xmlns:a16="http://schemas.microsoft.com/office/drawing/2014/main" id="{33E98678-D548-4E7A-9396-B0E59DC5D9C2}"/>
                </a:ext>
              </a:extLst>
            </p:cNvPr>
            <p:cNvSpPr/>
            <p:nvPr/>
          </p:nvSpPr>
          <p:spPr bwMode="auto">
            <a:xfrm>
              <a:off x="3566052" y="2108150"/>
              <a:ext cx="117264" cy="64804"/>
            </a:xfrm>
            <a:custGeom>
              <a:avLst/>
              <a:gdLst>
                <a:gd name="T0" fmla="*/ 31 w 32"/>
                <a:gd name="T1" fmla="*/ 9 h 18"/>
                <a:gd name="T2" fmla="*/ 19 w 32"/>
                <a:gd name="T3" fmla="*/ 0 h 18"/>
                <a:gd name="T4" fmla="*/ 2 w 32"/>
                <a:gd name="T5" fmla="*/ 9 h 18"/>
                <a:gd name="T6" fmla="*/ 13 w 32"/>
                <a:gd name="T7" fmla="*/ 18 h 18"/>
                <a:gd name="T8" fmla="*/ 31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9" name="任意多边形: 形状 728">
              <a:extLst>
                <a:ext uri="{FF2B5EF4-FFF2-40B4-BE49-F238E27FC236}">
                  <a16:creationId xmlns:a16="http://schemas.microsoft.com/office/drawing/2014/main" id="{4048F7CA-7A5A-4DD1-B51A-313F08E9AD0E}"/>
                </a:ext>
              </a:extLst>
            </p:cNvPr>
            <p:cNvSpPr/>
            <p:nvPr/>
          </p:nvSpPr>
          <p:spPr bwMode="auto">
            <a:xfrm>
              <a:off x="3697203" y="2108150"/>
              <a:ext cx="117264" cy="64804"/>
            </a:xfrm>
            <a:custGeom>
              <a:avLst/>
              <a:gdLst>
                <a:gd name="T0" fmla="*/ 30 w 32"/>
                <a:gd name="T1" fmla="*/ 9 h 18"/>
                <a:gd name="T2" fmla="*/ 18 w 32"/>
                <a:gd name="T3" fmla="*/ 0 h 18"/>
                <a:gd name="T4" fmla="*/ 1 w 32"/>
                <a:gd name="T5" fmla="*/ 9 h 18"/>
                <a:gd name="T6" fmla="*/ 13 w 32"/>
                <a:gd name="T7" fmla="*/ 18 h 18"/>
                <a:gd name="T8" fmla="*/ 30 w 32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8">
                  <a:moveTo>
                    <a:pt x="30" y="9"/>
                  </a:moveTo>
                  <a:cubicBezTo>
                    <a:pt x="32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0" name="任意多边形: 形状 729">
              <a:extLst>
                <a:ext uri="{FF2B5EF4-FFF2-40B4-BE49-F238E27FC236}">
                  <a16:creationId xmlns:a16="http://schemas.microsoft.com/office/drawing/2014/main" id="{B0730FA3-BF52-4666-9E5F-DFC932CA5563}"/>
                </a:ext>
              </a:extLst>
            </p:cNvPr>
            <p:cNvSpPr/>
            <p:nvPr/>
          </p:nvSpPr>
          <p:spPr bwMode="auto">
            <a:xfrm>
              <a:off x="3015220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1" name="任意多边形: 形状 730">
              <a:extLst>
                <a:ext uri="{FF2B5EF4-FFF2-40B4-BE49-F238E27FC236}">
                  <a16:creationId xmlns:a16="http://schemas.microsoft.com/office/drawing/2014/main" id="{AFF5E845-C41C-4DDF-AA1A-F1F7FAFA5E1B}"/>
                </a:ext>
              </a:extLst>
            </p:cNvPr>
            <p:cNvSpPr/>
            <p:nvPr/>
          </p:nvSpPr>
          <p:spPr bwMode="auto">
            <a:xfrm>
              <a:off x="3277521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3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2" name="任意多边形: 形状 731">
              <a:extLst>
                <a:ext uri="{FF2B5EF4-FFF2-40B4-BE49-F238E27FC236}">
                  <a16:creationId xmlns:a16="http://schemas.microsoft.com/office/drawing/2014/main" id="{663AD24C-867B-4847-BCCA-FF82D4D96D97}"/>
                </a:ext>
              </a:extLst>
            </p:cNvPr>
            <p:cNvSpPr/>
            <p:nvPr/>
          </p:nvSpPr>
          <p:spPr bwMode="auto">
            <a:xfrm>
              <a:off x="3408671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3" name="任意多边形: 形状 732">
              <a:extLst>
                <a:ext uri="{FF2B5EF4-FFF2-40B4-BE49-F238E27FC236}">
                  <a16:creationId xmlns:a16="http://schemas.microsoft.com/office/drawing/2014/main" id="{C7176277-EE9F-46DB-8448-632C5FE72B47}"/>
                </a:ext>
              </a:extLst>
            </p:cNvPr>
            <p:cNvSpPr/>
            <p:nvPr/>
          </p:nvSpPr>
          <p:spPr bwMode="auto">
            <a:xfrm>
              <a:off x="3539822" y="2188383"/>
              <a:ext cx="117264" cy="69433"/>
            </a:xfrm>
            <a:custGeom>
              <a:avLst/>
              <a:gdLst>
                <a:gd name="T0" fmla="*/ 31 w 32"/>
                <a:gd name="T1" fmla="*/ 9 h 19"/>
                <a:gd name="T2" fmla="*/ 19 w 32"/>
                <a:gd name="T3" fmla="*/ 0 h 19"/>
                <a:gd name="T4" fmla="*/ 1 w 32"/>
                <a:gd name="T5" fmla="*/ 9 h 19"/>
                <a:gd name="T6" fmla="*/ 13 w 32"/>
                <a:gd name="T7" fmla="*/ 19 h 19"/>
                <a:gd name="T8" fmla="*/ 31 w 32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9">
                  <a:moveTo>
                    <a:pt x="31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4" name="任意多边形: 形状 733">
              <a:extLst>
                <a:ext uri="{FF2B5EF4-FFF2-40B4-BE49-F238E27FC236}">
                  <a16:creationId xmlns:a16="http://schemas.microsoft.com/office/drawing/2014/main" id="{84C639E9-2A78-4080-B234-76EDD30EED1E}"/>
                </a:ext>
              </a:extLst>
            </p:cNvPr>
            <p:cNvSpPr/>
            <p:nvPr/>
          </p:nvSpPr>
          <p:spPr bwMode="auto">
            <a:xfrm>
              <a:off x="3667886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20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8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5" name="任意多边形: 形状 734">
              <a:extLst>
                <a:ext uri="{FF2B5EF4-FFF2-40B4-BE49-F238E27FC236}">
                  <a16:creationId xmlns:a16="http://schemas.microsoft.com/office/drawing/2014/main" id="{9F3D39F5-58FD-48A4-9FA0-57589706ABB0}"/>
                </a:ext>
              </a:extLst>
            </p:cNvPr>
            <p:cNvSpPr/>
            <p:nvPr/>
          </p:nvSpPr>
          <p:spPr bwMode="auto">
            <a:xfrm>
              <a:off x="3799037" y="2188383"/>
              <a:ext cx="120350" cy="69433"/>
            </a:xfrm>
            <a:custGeom>
              <a:avLst/>
              <a:gdLst>
                <a:gd name="T0" fmla="*/ 31 w 33"/>
                <a:gd name="T1" fmla="*/ 9 h 19"/>
                <a:gd name="T2" fmla="*/ 19 w 33"/>
                <a:gd name="T3" fmla="*/ 0 h 19"/>
                <a:gd name="T4" fmla="*/ 2 w 33"/>
                <a:gd name="T5" fmla="*/ 9 h 19"/>
                <a:gd name="T6" fmla="*/ 14 w 33"/>
                <a:gd name="T7" fmla="*/ 19 h 19"/>
                <a:gd name="T8" fmla="*/ 31 w 33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9">
                  <a:moveTo>
                    <a:pt x="31" y="9"/>
                  </a:moveTo>
                  <a:cubicBezTo>
                    <a:pt x="33" y="4"/>
                    <a:pt x="27" y="0"/>
                    <a:pt x="19" y="0"/>
                  </a:cubicBezTo>
                  <a:cubicBezTo>
                    <a:pt x="11" y="0"/>
                    <a:pt x="3" y="4"/>
                    <a:pt x="2" y="9"/>
                  </a:cubicBezTo>
                  <a:cubicBezTo>
                    <a:pt x="0" y="14"/>
                    <a:pt x="6" y="19"/>
                    <a:pt x="14" y="19"/>
                  </a:cubicBezTo>
                  <a:cubicBezTo>
                    <a:pt x="22" y="19"/>
                    <a:pt x="30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6" name="任意多边形: 形状 735">
              <a:extLst>
                <a:ext uri="{FF2B5EF4-FFF2-40B4-BE49-F238E27FC236}">
                  <a16:creationId xmlns:a16="http://schemas.microsoft.com/office/drawing/2014/main" id="{742B5FC5-343E-4F89-B8BA-0BE7DD142A28}"/>
                </a:ext>
              </a:extLst>
            </p:cNvPr>
            <p:cNvSpPr/>
            <p:nvPr/>
          </p:nvSpPr>
          <p:spPr bwMode="auto">
            <a:xfrm>
              <a:off x="3424101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7" name="任意多边形: 形状 736">
              <a:extLst>
                <a:ext uri="{FF2B5EF4-FFF2-40B4-BE49-F238E27FC236}">
                  <a16:creationId xmlns:a16="http://schemas.microsoft.com/office/drawing/2014/main" id="{9CCBC6FB-B7C3-4DC6-99A1-718F2F1EBABF}"/>
                </a:ext>
              </a:extLst>
            </p:cNvPr>
            <p:cNvSpPr/>
            <p:nvPr/>
          </p:nvSpPr>
          <p:spPr bwMode="auto">
            <a:xfrm>
              <a:off x="3394785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8" name="任意多边形: 形状 737">
              <a:extLst>
                <a:ext uri="{FF2B5EF4-FFF2-40B4-BE49-F238E27FC236}">
                  <a16:creationId xmlns:a16="http://schemas.microsoft.com/office/drawing/2014/main" id="{1AF2F9B8-277B-4037-AB67-FA8FE624058E}"/>
                </a:ext>
              </a:extLst>
            </p:cNvPr>
            <p:cNvSpPr/>
            <p:nvPr/>
          </p:nvSpPr>
          <p:spPr bwMode="auto">
            <a:xfrm>
              <a:off x="3522849" y="1878251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8 w 31"/>
                <a:gd name="T3" fmla="*/ 0 h 17"/>
                <a:gd name="T4" fmla="*/ 1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9" name="任意多边形: 形状 738">
              <a:extLst>
                <a:ext uri="{FF2B5EF4-FFF2-40B4-BE49-F238E27FC236}">
                  <a16:creationId xmlns:a16="http://schemas.microsoft.com/office/drawing/2014/main" id="{C1603430-0105-40F8-BDFC-0C2DDB284125}"/>
                </a:ext>
              </a:extLst>
            </p:cNvPr>
            <p:cNvSpPr/>
            <p:nvPr/>
          </p:nvSpPr>
          <p:spPr bwMode="auto">
            <a:xfrm>
              <a:off x="3368554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9 w 31"/>
                <a:gd name="T3" fmla="*/ 0 h 17"/>
                <a:gd name="T4" fmla="*/ 1 w 31"/>
                <a:gd name="T5" fmla="*/ 8 h 17"/>
                <a:gd name="T6" fmla="*/ 12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0" name="任意多边形: 形状 739">
              <a:extLst>
                <a:ext uri="{FF2B5EF4-FFF2-40B4-BE49-F238E27FC236}">
                  <a16:creationId xmlns:a16="http://schemas.microsoft.com/office/drawing/2014/main" id="{E9B28E59-A709-4A3A-9F1D-68BE30E71B05}"/>
                </a:ext>
              </a:extLst>
            </p:cNvPr>
            <p:cNvSpPr/>
            <p:nvPr/>
          </p:nvSpPr>
          <p:spPr bwMode="auto">
            <a:xfrm>
              <a:off x="3493534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1" name="任意多边形: 形状 740">
              <a:extLst>
                <a:ext uri="{FF2B5EF4-FFF2-40B4-BE49-F238E27FC236}">
                  <a16:creationId xmlns:a16="http://schemas.microsoft.com/office/drawing/2014/main" id="{C424AB96-8E7F-4301-A538-09F7164A33E9}"/>
                </a:ext>
              </a:extLst>
            </p:cNvPr>
            <p:cNvSpPr/>
            <p:nvPr/>
          </p:nvSpPr>
          <p:spPr bwMode="auto">
            <a:xfrm>
              <a:off x="3620055" y="1953855"/>
              <a:ext cx="114178" cy="63261"/>
            </a:xfrm>
            <a:custGeom>
              <a:avLst/>
              <a:gdLst>
                <a:gd name="T0" fmla="*/ 30 w 31"/>
                <a:gd name="T1" fmla="*/ 8 h 17"/>
                <a:gd name="T2" fmla="*/ 18 w 31"/>
                <a:gd name="T3" fmla="*/ 0 h 17"/>
                <a:gd name="T4" fmla="*/ 1 w 31"/>
                <a:gd name="T5" fmla="*/ 8 h 17"/>
                <a:gd name="T6" fmla="*/ 13 w 31"/>
                <a:gd name="T7" fmla="*/ 17 h 17"/>
                <a:gd name="T8" fmla="*/ 30 w 31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8"/>
                  </a:moveTo>
                  <a:cubicBezTo>
                    <a:pt x="31" y="4"/>
                    <a:pt x="26" y="0"/>
                    <a:pt x="18" y="0"/>
                  </a:cubicBezTo>
                  <a:cubicBezTo>
                    <a:pt x="11" y="0"/>
                    <a:pt x="3" y="4"/>
                    <a:pt x="1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2" name="任意多边形: 形状 741">
              <a:extLst>
                <a:ext uri="{FF2B5EF4-FFF2-40B4-BE49-F238E27FC236}">
                  <a16:creationId xmlns:a16="http://schemas.microsoft.com/office/drawing/2014/main" id="{51E50EB4-9173-4139-A3AE-3A8103E83997}"/>
                </a:ext>
              </a:extLst>
            </p:cNvPr>
            <p:cNvSpPr/>
            <p:nvPr/>
          </p:nvSpPr>
          <p:spPr bwMode="auto">
            <a:xfrm>
              <a:off x="3745033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6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3" name="任意多边形: 形状 742">
              <a:extLst>
                <a:ext uri="{FF2B5EF4-FFF2-40B4-BE49-F238E27FC236}">
                  <a16:creationId xmlns:a16="http://schemas.microsoft.com/office/drawing/2014/main" id="{0689E23B-0C74-4F8E-A2A6-C39A89257F67}"/>
                </a:ext>
              </a:extLst>
            </p:cNvPr>
            <p:cNvSpPr/>
            <p:nvPr/>
          </p:nvSpPr>
          <p:spPr bwMode="auto">
            <a:xfrm>
              <a:off x="3175687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4" name="任意多边形: 形状 743">
              <a:extLst>
                <a:ext uri="{FF2B5EF4-FFF2-40B4-BE49-F238E27FC236}">
                  <a16:creationId xmlns:a16="http://schemas.microsoft.com/office/drawing/2014/main" id="{CBCDA609-3D87-430B-86C8-F3CEBBF28494}"/>
                </a:ext>
              </a:extLst>
            </p:cNvPr>
            <p:cNvSpPr/>
            <p:nvPr/>
          </p:nvSpPr>
          <p:spPr bwMode="auto">
            <a:xfrm>
              <a:off x="3299122" y="1804190"/>
              <a:ext cx="114178" cy="61718"/>
            </a:xfrm>
            <a:custGeom>
              <a:avLst/>
              <a:gdLst>
                <a:gd name="T0" fmla="*/ 30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3 w 31"/>
                <a:gd name="T7" fmla="*/ 17 h 17"/>
                <a:gd name="T8" fmla="*/ 30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30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5" name="任意多边形: 形状 744">
              <a:extLst>
                <a:ext uri="{FF2B5EF4-FFF2-40B4-BE49-F238E27FC236}">
                  <a16:creationId xmlns:a16="http://schemas.microsoft.com/office/drawing/2014/main" id="{42135A8E-A9CE-4769-8644-1A624B54F593}"/>
                </a:ext>
              </a:extLst>
            </p:cNvPr>
            <p:cNvSpPr/>
            <p:nvPr/>
          </p:nvSpPr>
          <p:spPr bwMode="auto">
            <a:xfrm>
              <a:off x="3146370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6" name="任意多边形: 形状 745">
              <a:extLst>
                <a:ext uri="{FF2B5EF4-FFF2-40B4-BE49-F238E27FC236}">
                  <a16:creationId xmlns:a16="http://schemas.microsoft.com/office/drawing/2014/main" id="{FEAA48A6-FC38-4D1E-8248-4C1167DA648F}"/>
                </a:ext>
              </a:extLst>
            </p:cNvPr>
            <p:cNvSpPr/>
            <p:nvPr/>
          </p:nvSpPr>
          <p:spPr bwMode="auto">
            <a:xfrm>
              <a:off x="3269806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3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7" name="任意多边形: 形状 746">
              <a:extLst>
                <a:ext uri="{FF2B5EF4-FFF2-40B4-BE49-F238E27FC236}">
                  <a16:creationId xmlns:a16="http://schemas.microsoft.com/office/drawing/2014/main" id="{612557F2-0C1C-4635-9BD4-020DF27DEF4D}"/>
                </a:ext>
              </a:extLst>
            </p:cNvPr>
            <p:cNvSpPr/>
            <p:nvPr/>
          </p:nvSpPr>
          <p:spPr bwMode="auto">
            <a:xfrm>
              <a:off x="3113969" y="1953855"/>
              <a:ext cx="115721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8" name="任意多边形: 形状 747">
              <a:extLst>
                <a:ext uri="{FF2B5EF4-FFF2-40B4-BE49-F238E27FC236}">
                  <a16:creationId xmlns:a16="http://schemas.microsoft.com/office/drawing/2014/main" id="{2D61A6E8-DC16-4900-BCA9-E144A2F66F48}"/>
                </a:ext>
              </a:extLst>
            </p:cNvPr>
            <p:cNvSpPr/>
            <p:nvPr/>
          </p:nvSpPr>
          <p:spPr bwMode="auto">
            <a:xfrm>
              <a:off x="32404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3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1" y="0"/>
                    <a:pt x="4" y="4"/>
                    <a:pt x="2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9" name="任意多边形: 形状 748">
              <a:extLst>
                <a:ext uri="{FF2B5EF4-FFF2-40B4-BE49-F238E27FC236}">
                  <a16:creationId xmlns:a16="http://schemas.microsoft.com/office/drawing/2014/main" id="{8F9EF4E3-3E50-4FF0-ADDE-0514D5FDD8EF}"/>
                </a:ext>
              </a:extLst>
            </p:cNvPr>
            <p:cNvSpPr/>
            <p:nvPr/>
          </p:nvSpPr>
          <p:spPr bwMode="auto">
            <a:xfrm>
              <a:off x="2884069" y="2188383"/>
              <a:ext cx="123436" cy="69433"/>
            </a:xfrm>
            <a:custGeom>
              <a:avLst/>
              <a:gdLst>
                <a:gd name="T0" fmla="*/ 31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1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0" name="任意多边形: 形状 749">
              <a:extLst>
                <a:ext uri="{FF2B5EF4-FFF2-40B4-BE49-F238E27FC236}">
                  <a16:creationId xmlns:a16="http://schemas.microsoft.com/office/drawing/2014/main" id="{87B9AC58-EE6A-4533-B6D2-CD7BBB6AC5CD}"/>
                </a:ext>
              </a:extLst>
            </p:cNvPr>
            <p:cNvSpPr/>
            <p:nvPr/>
          </p:nvSpPr>
          <p:spPr bwMode="auto">
            <a:xfrm>
              <a:off x="284703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1" name="任意多边形: 形状 750">
              <a:extLst>
                <a:ext uri="{FF2B5EF4-FFF2-40B4-BE49-F238E27FC236}">
                  <a16:creationId xmlns:a16="http://schemas.microsoft.com/office/drawing/2014/main" id="{7F4CACE5-8E9B-42E9-88CE-88A834F5E67F}"/>
                </a:ext>
              </a:extLst>
            </p:cNvPr>
            <p:cNvSpPr/>
            <p:nvPr/>
          </p:nvSpPr>
          <p:spPr bwMode="auto">
            <a:xfrm>
              <a:off x="2810008" y="2356565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5"/>
                    <a:pt x="4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2" name="任意多边形: 形状 751">
              <a:extLst>
                <a:ext uri="{FF2B5EF4-FFF2-40B4-BE49-F238E27FC236}">
                  <a16:creationId xmlns:a16="http://schemas.microsoft.com/office/drawing/2014/main" id="{0E71158C-EDF9-401D-8961-26757F78B19C}"/>
                </a:ext>
              </a:extLst>
            </p:cNvPr>
            <p:cNvSpPr/>
            <p:nvPr/>
          </p:nvSpPr>
          <p:spPr bwMode="auto">
            <a:xfrm>
              <a:off x="2769891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3" name="任意多边形: 形状 752">
              <a:extLst>
                <a:ext uri="{FF2B5EF4-FFF2-40B4-BE49-F238E27FC236}">
                  <a16:creationId xmlns:a16="http://schemas.microsoft.com/office/drawing/2014/main" id="{7B5F1908-6FB7-4189-971F-EECF91AAEEBC}"/>
                </a:ext>
              </a:extLst>
            </p:cNvPr>
            <p:cNvSpPr/>
            <p:nvPr/>
          </p:nvSpPr>
          <p:spPr bwMode="auto">
            <a:xfrm>
              <a:off x="2729775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4" name="任意多边形: 形状 753">
              <a:extLst>
                <a:ext uri="{FF2B5EF4-FFF2-40B4-BE49-F238E27FC236}">
                  <a16:creationId xmlns:a16="http://schemas.microsoft.com/office/drawing/2014/main" id="{71229B6E-CDD1-42FE-B689-4A70903548F8}"/>
                </a:ext>
              </a:extLst>
            </p:cNvPr>
            <p:cNvSpPr/>
            <p:nvPr/>
          </p:nvSpPr>
          <p:spPr bwMode="auto">
            <a:xfrm>
              <a:off x="2689658" y="2623494"/>
              <a:ext cx="131151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5" name="任意多边形: 形状 754">
              <a:extLst>
                <a:ext uri="{FF2B5EF4-FFF2-40B4-BE49-F238E27FC236}">
                  <a16:creationId xmlns:a16="http://schemas.microsoft.com/office/drawing/2014/main" id="{19D2CBC6-E040-47EE-AA1A-76157A4B62B0}"/>
                </a:ext>
              </a:extLst>
            </p:cNvPr>
            <p:cNvSpPr/>
            <p:nvPr/>
          </p:nvSpPr>
          <p:spPr bwMode="auto">
            <a:xfrm>
              <a:off x="2649541" y="2714528"/>
              <a:ext cx="131151" cy="80233"/>
            </a:xfrm>
            <a:custGeom>
              <a:avLst/>
              <a:gdLst>
                <a:gd name="T0" fmla="*/ 34 w 36"/>
                <a:gd name="T1" fmla="*/ 11 h 22"/>
                <a:gd name="T2" fmla="*/ 23 w 36"/>
                <a:gd name="T3" fmla="*/ 0 h 22"/>
                <a:gd name="T4" fmla="*/ 2 w 36"/>
                <a:gd name="T5" fmla="*/ 11 h 22"/>
                <a:gd name="T6" fmla="*/ 13 w 36"/>
                <a:gd name="T7" fmla="*/ 22 h 22"/>
                <a:gd name="T8" fmla="*/ 34 w 36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2">
                  <a:moveTo>
                    <a:pt x="34" y="11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4" y="0"/>
                    <a:pt x="5" y="5"/>
                    <a:pt x="2" y="11"/>
                  </a:cubicBezTo>
                  <a:cubicBezTo>
                    <a:pt x="0" y="17"/>
                    <a:pt x="5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6" name="任意多边形: 形状 755">
              <a:extLst>
                <a:ext uri="{FF2B5EF4-FFF2-40B4-BE49-F238E27FC236}">
                  <a16:creationId xmlns:a16="http://schemas.microsoft.com/office/drawing/2014/main" id="{3B3480DC-6D7B-4CDB-B74B-C1252D650EC6}"/>
                </a:ext>
              </a:extLst>
            </p:cNvPr>
            <p:cNvSpPr/>
            <p:nvPr/>
          </p:nvSpPr>
          <p:spPr bwMode="auto">
            <a:xfrm>
              <a:off x="3055337" y="1804190"/>
              <a:ext cx="112636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6" y="0"/>
                    <a:pt x="19" y="0"/>
                  </a:cubicBezTo>
                  <a:cubicBezTo>
                    <a:pt x="11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7" name="任意多边形: 形状 756">
              <a:extLst>
                <a:ext uri="{FF2B5EF4-FFF2-40B4-BE49-F238E27FC236}">
                  <a16:creationId xmlns:a16="http://schemas.microsoft.com/office/drawing/2014/main" id="{94EFC87C-6E07-440E-A23B-C4CBFA037D34}"/>
                </a:ext>
              </a:extLst>
            </p:cNvPr>
            <p:cNvSpPr/>
            <p:nvPr/>
          </p:nvSpPr>
          <p:spPr bwMode="auto">
            <a:xfrm>
              <a:off x="3022934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19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8" name="任意多边形: 形状 757">
              <a:extLst>
                <a:ext uri="{FF2B5EF4-FFF2-40B4-BE49-F238E27FC236}">
                  <a16:creationId xmlns:a16="http://schemas.microsoft.com/office/drawing/2014/main" id="{8B528CA5-AED2-4C9C-AC42-0FC12090E8EB}"/>
                </a:ext>
              </a:extLst>
            </p:cNvPr>
            <p:cNvSpPr/>
            <p:nvPr/>
          </p:nvSpPr>
          <p:spPr bwMode="auto">
            <a:xfrm>
              <a:off x="2988990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19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7" y="0"/>
                    <a:pt x="19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9" name="任意多边形: 形状 758">
              <a:extLst>
                <a:ext uri="{FF2B5EF4-FFF2-40B4-BE49-F238E27FC236}">
                  <a16:creationId xmlns:a16="http://schemas.microsoft.com/office/drawing/2014/main" id="{A83C380C-20E9-427A-94C4-10F0DEA095B1}"/>
                </a:ext>
              </a:extLst>
            </p:cNvPr>
            <p:cNvSpPr/>
            <p:nvPr/>
          </p:nvSpPr>
          <p:spPr bwMode="auto">
            <a:xfrm>
              <a:off x="2964302" y="1734757"/>
              <a:ext cx="112636" cy="58632"/>
            </a:xfrm>
            <a:custGeom>
              <a:avLst/>
              <a:gdLst>
                <a:gd name="T0" fmla="*/ 29 w 31"/>
                <a:gd name="T1" fmla="*/ 8 h 16"/>
                <a:gd name="T2" fmla="*/ 19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19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0" name="任意多边形: 形状 759">
              <a:extLst>
                <a:ext uri="{FF2B5EF4-FFF2-40B4-BE49-F238E27FC236}">
                  <a16:creationId xmlns:a16="http://schemas.microsoft.com/office/drawing/2014/main" id="{9832BC02-7C70-479F-AA53-A4B69EF10BDB}"/>
                </a:ext>
              </a:extLst>
            </p:cNvPr>
            <p:cNvSpPr/>
            <p:nvPr/>
          </p:nvSpPr>
          <p:spPr bwMode="auto">
            <a:xfrm>
              <a:off x="2930358" y="1804190"/>
              <a:ext cx="114178" cy="61718"/>
            </a:xfrm>
            <a:custGeom>
              <a:avLst/>
              <a:gdLst>
                <a:gd name="T0" fmla="*/ 29 w 31"/>
                <a:gd name="T1" fmla="*/ 9 h 17"/>
                <a:gd name="T2" fmla="*/ 19 w 31"/>
                <a:gd name="T3" fmla="*/ 0 h 17"/>
                <a:gd name="T4" fmla="*/ 2 w 31"/>
                <a:gd name="T5" fmla="*/ 9 h 17"/>
                <a:gd name="T6" fmla="*/ 12 w 31"/>
                <a:gd name="T7" fmla="*/ 17 h 17"/>
                <a:gd name="T8" fmla="*/ 29 w 31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7">
                  <a:moveTo>
                    <a:pt x="29" y="9"/>
                  </a:moveTo>
                  <a:cubicBezTo>
                    <a:pt x="31" y="4"/>
                    <a:pt x="27" y="0"/>
                    <a:pt x="19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7" y="13"/>
                    <a:pt x="29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1" name="任意多边形: 形状 760">
              <a:extLst>
                <a:ext uri="{FF2B5EF4-FFF2-40B4-BE49-F238E27FC236}">
                  <a16:creationId xmlns:a16="http://schemas.microsoft.com/office/drawing/2014/main" id="{F84EE419-E771-4C1C-81F0-346C015CDA30}"/>
                </a:ext>
              </a:extLst>
            </p:cNvPr>
            <p:cNvSpPr/>
            <p:nvPr/>
          </p:nvSpPr>
          <p:spPr bwMode="auto">
            <a:xfrm>
              <a:off x="2860926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4" y="4"/>
                    <a:pt x="2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2" name="任意多边形: 形状 761">
              <a:extLst>
                <a:ext uri="{FF2B5EF4-FFF2-40B4-BE49-F238E27FC236}">
                  <a16:creationId xmlns:a16="http://schemas.microsoft.com/office/drawing/2014/main" id="{FDE4AF6F-258E-4DA6-A753-D98961314C01}"/>
                </a:ext>
              </a:extLst>
            </p:cNvPr>
            <p:cNvSpPr/>
            <p:nvPr/>
          </p:nvSpPr>
          <p:spPr bwMode="auto">
            <a:xfrm>
              <a:off x="282543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1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3" name="任意多边形: 形状 762">
              <a:extLst>
                <a:ext uri="{FF2B5EF4-FFF2-40B4-BE49-F238E27FC236}">
                  <a16:creationId xmlns:a16="http://schemas.microsoft.com/office/drawing/2014/main" id="{6F1D8745-9E69-4B6E-A14E-135594014434}"/>
                </a:ext>
              </a:extLst>
            </p:cNvPr>
            <p:cNvSpPr/>
            <p:nvPr/>
          </p:nvSpPr>
          <p:spPr bwMode="auto">
            <a:xfrm>
              <a:off x="278840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3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4" name="任意多边形: 形状 763">
              <a:extLst>
                <a:ext uri="{FF2B5EF4-FFF2-40B4-BE49-F238E27FC236}">
                  <a16:creationId xmlns:a16="http://schemas.microsoft.com/office/drawing/2014/main" id="{15966593-4570-4728-BBCE-C1DAE9CF3CCB}"/>
                </a:ext>
              </a:extLst>
            </p:cNvPr>
            <p:cNvSpPr/>
            <p:nvPr/>
          </p:nvSpPr>
          <p:spPr bwMode="auto">
            <a:xfrm>
              <a:off x="2752919" y="2188383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5" name="任意多边形: 形状 764">
              <a:extLst>
                <a:ext uri="{FF2B5EF4-FFF2-40B4-BE49-F238E27FC236}">
                  <a16:creationId xmlns:a16="http://schemas.microsoft.com/office/drawing/2014/main" id="{0153C6C0-55DF-4FA6-B84C-B5AA56D2ECF7}"/>
                </a:ext>
              </a:extLst>
            </p:cNvPr>
            <p:cNvSpPr/>
            <p:nvPr/>
          </p:nvSpPr>
          <p:spPr bwMode="auto">
            <a:xfrm>
              <a:off x="2715889" y="2271702"/>
              <a:ext cx="123436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2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6" name="任意多边形: 形状 765">
              <a:extLst>
                <a:ext uri="{FF2B5EF4-FFF2-40B4-BE49-F238E27FC236}">
                  <a16:creationId xmlns:a16="http://schemas.microsoft.com/office/drawing/2014/main" id="{E0B2D26F-B6F7-4E38-BD4C-59EC29FCEECC}"/>
                </a:ext>
              </a:extLst>
            </p:cNvPr>
            <p:cNvSpPr/>
            <p:nvPr/>
          </p:nvSpPr>
          <p:spPr bwMode="auto">
            <a:xfrm>
              <a:off x="2675772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7" name="任意多边形: 形状 766">
              <a:extLst>
                <a:ext uri="{FF2B5EF4-FFF2-40B4-BE49-F238E27FC236}">
                  <a16:creationId xmlns:a16="http://schemas.microsoft.com/office/drawing/2014/main" id="{00FBE631-58D9-4E49-8576-57BFD2846BA1}"/>
                </a:ext>
              </a:extLst>
            </p:cNvPr>
            <p:cNvSpPr/>
            <p:nvPr/>
          </p:nvSpPr>
          <p:spPr bwMode="auto">
            <a:xfrm>
              <a:off x="2635655" y="2439884"/>
              <a:ext cx="128065" cy="74061"/>
            </a:xfrm>
            <a:custGeom>
              <a:avLst/>
              <a:gdLst>
                <a:gd name="T0" fmla="*/ 33 w 35"/>
                <a:gd name="T1" fmla="*/ 10 h 20"/>
                <a:gd name="T2" fmla="*/ 22 w 35"/>
                <a:gd name="T3" fmla="*/ 0 h 20"/>
                <a:gd name="T4" fmla="*/ 2 w 35"/>
                <a:gd name="T5" fmla="*/ 10 h 20"/>
                <a:gd name="T6" fmla="*/ 13 w 35"/>
                <a:gd name="T7" fmla="*/ 20 h 20"/>
                <a:gd name="T8" fmla="*/ 33 w 35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0">
                  <a:moveTo>
                    <a:pt x="33" y="10"/>
                  </a:moveTo>
                  <a:cubicBezTo>
                    <a:pt x="35" y="5"/>
                    <a:pt x="30" y="0"/>
                    <a:pt x="22" y="0"/>
                  </a:cubicBezTo>
                  <a:cubicBezTo>
                    <a:pt x="14" y="0"/>
                    <a:pt x="5" y="5"/>
                    <a:pt x="2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8" name="任意多边形: 形状 767">
              <a:extLst>
                <a:ext uri="{FF2B5EF4-FFF2-40B4-BE49-F238E27FC236}">
                  <a16:creationId xmlns:a16="http://schemas.microsoft.com/office/drawing/2014/main" id="{0115D882-0F66-466D-9724-D1E2D534C96C}"/>
                </a:ext>
              </a:extLst>
            </p:cNvPr>
            <p:cNvSpPr/>
            <p:nvPr/>
          </p:nvSpPr>
          <p:spPr bwMode="auto">
            <a:xfrm>
              <a:off x="2590909" y="2532461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4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9" name="任意多边形: 形状 768">
              <a:extLst>
                <a:ext uri="{FF2B5EF4-FFF2-40B4-BE49-F238E27FC236}">
                  <a16:creationId xmlns:a16="http://schemas.microsoft.com/office/drawing/2014/main" id="{E56CDCCF-3324-43D9-80AB-553D0259A5E7}"/>
                </a:ext>
              </a:extLst>
            </p:cNvPr>
            <p:cNvSpPr/>
            <p:nvPr/>
          </p:nvSpPr>
          <p:spPr bwMode="auto">
            <a:xfrm>
              <a:off x="2550793" y="2623494"/>
              <a:ext cx="132693" cy="72519"/>
            </a:xfrm>
            <a:custGeom>
              <a:avLst/>
              <a:gdLst>
                <a:gd name="T0" fmla="*/ 34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4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4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0" name="任意多边形: 形状 769">
              <a:extLst>
                <a:ext uri="{FF2B5EF4-FFF2-40B4-BE49-F238E27FC236}">
                  <a16:creationId xmlns:a16="http://schemas.microsoft.com/office/drawing/2014/main" id="{C867662E-EAEE-4020-BC87-CBBB7A1DE4AB}"/>
                </a:ext>
              </a:extLst>
            </p:cNvPr>
            <p:cNvSpPr/>
            <p:nvPr/>
          </p:nvSpPr>
          <p:spPr bwMode="auto">
            <a:xfrm>
              <a:off x="2507590" y="2714528"/>
              <a:ext cx="135779" cy="80233"/>
            </a:xfrm>
            <a:custGeom>
              <a:avLst/>
              <a:gdLst>
                <a:gd name="T0" fmla="*/ 34 w 37"/>
                <a:gd name="T1" fmla="*/ 11 h 22"/>
                <a:gd name="T2" fmla="*/ 23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2" y="0"/>
                    <a:pt x="23" y="0"/>
                  </a:cubicBezTo>
                  <a:cubicBezTo>
                    <a:pt x="15" y="0"/>
                    <a:pt x="5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1" name="任意多边形: 形状 770">
              <a:extLst>
                <a:ext uri="{FF2B5EF4-FFF2-40B4-BE49-F238E27FC236}">
                  <a16:creationId xmlns:a16="http://schemas.microsoft.com/office/drawing/2014/main" id="{39B40C24-3302-4FBF-9345-C31DB51A2C0C}"/>
                </a:ext>
              </a:extLst>
            </p:cNvPr>
            <p:cNvSpPr/>
            <p:nvPr/>
          </p:nvSpPr>
          <p:spPr bwMode="auto">
            <a:xfrm>
              <a:off x="2839324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5" y="3"/>
                    <a:pt x="2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2" name="任意多边形: 形状 771">
              <a:extLst>
                <a:ext uri="{FF2B5EF4-FFF2-40B4-BE49-F238E27FC236}">
                  <a16:creationId xmlns:a16="http://schemas.microsoft.com/office/drawing/2014/main" id="{2CA719C7-046A-4FA7-9F68-861D42BD8239}"/>
                </a:ext>
              </a:extLst>
            </p:cNvPr>
            <p:cNvSpPr/>
            <p:nvPr/>
          </p:nvSpPr>
          <p:spPr bwMode="auto">
            <a:xfrm>
              <a:off x="2806922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7" y="0"/>
                    <a:pt x="20" y="0"/>
                  </a:cubicBezTo>
                  <a:cubicBezTo>
                    <a:pt x="12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3" name="任意多边形: 形状 772">
              <a:extLst>
                <a:ext uri="{FF2B5EF4-FFF2-40B4-BE49-F238E27FC236}">
                  <a16:creationId xmlns:a16="http://schemas.microsoft.com/office/drawing/2014/main" id="{82521CC3-1D5F-4959-A69D-46345BA23685}"/>
                </a:ext>
              </a:extLst>
            </p:cNvPr>
            <p:cNvSpPr/>
            <p:nvPr/>
          </p:nvSpPr>
          <p:spPr bwMode="auto">
            <a:xfrm>
              <a:off x="2769891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4" name="任意多边形: 形状 773">
              <a:extLst>
                <a:ext uri="{FF2B5EF4-FFF2-40B4-BE49-F238E27FC236}">
                  <a16:creationId xmlns:a16="http://schemas.microsoft.com/office/drawing/2014/main" id="{CDE82991-ED45-4483-9565-CDBEFCB2168F}"/>
                </a:ext>
              </a:extLst>
            </p:cNvPr>
            <p:cNvSpPr/>
            <p:nvPr/>
          </p:nvSpPr>
          <p:spPr bwMode="auto">
            <a:xfrm>
              <a:off x="2734404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3 w 33"/>
                <a:gd name="T5" fmla="*/ 8 h 17"/>
                <a:gd name="T6" fmla="*/ 13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8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5" name="任意多边形: 形状 774">
              <a:extLst>
                <a:ext uri="{FF2B5EF4-FFF2-40B4-BE49-F238E27FC236}">
                  <a16:creationId xmlns:a16="http://schemas.microsoft.com/office/drawing/2014/main" id="{31C4B6B3-8810-4236-BABC-D98D0E26E8A3}"/>
                </a:ext>
              </a:extLst>
            </p:cNvPr>
            <p:cNvSpPr/>
            <p:nvPr/>
          </p:nvSpPr>
          <p:spPr bwMode="auto">
            <a:xfrm>
              <a:off x="2697373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3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3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6" name="任意多边形: 形状 775">
              <a:extLst>
                <a:ext uri="{FF2B5EF4-FFF2-40B4-BE49-F238E27FC236}">
                  <a16:creationId xmlns:a16="http://schemas.microsoft.com/office/drawing/2014/main" id="{732AE949-7451-4F40-A258-E31A5E8A054B}"/>
                </a:ext>
              </a:extLst>
            </p:cNvPr>
            <p:cNvSpPr/>
            <p:nvPr/>
          </p:nvSpPr>
          <p:spPr bwMode="auto">
            <a:xfrm>
              <a:off x="2660342" y="2108150"/>
              <a:ext cx="120350" cy="64804"/>
            </a:xfrm>
            <a:custGeom>
              <a:avLst/>
              <a:gdLst>
                <a:gd name="T0" fmla="*/ 31 w 33"/>
                <a:gd name="T1" fmla="*/ 9 h 18"/>
                <a:gd name="T2" fmla="*/ 21 w 33"/>
                <a:gd name="T3" fmla="*/ 0 h 18"/>
                <a:gd name="T4" fmla="*/ 2 w 33"/>
                <a:gd name="T5" fmla="*/ 9 h 18"/>
                <a:gd name="T6" fmla="*/ 12 w 33"/>
                <a:gd name="T7" fmla="*/ 18 h 18"/>
                <a:gd name="T8" fmla="*/ 31 w 33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8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7" name="任意多边形: 形状 776">
              <a:extLst>
                <a:ext uri="{FF2B5EF4-FFF2-40B4-BE49-F238E27FC236}">
                  <a16:creationId xmlns:a16="http://schemas.microsoft.com/office/drawing/2014/main" id="{3592D8AB-5B26-4819-B6E9-E8FA728BC10E}"/>
                </a:ext>
              </a:extLst>
            </p:cNvPr>
            <p:cNvSpPr/>
            <p:nvPr/>
          </p:nvSpPr>
          <p:spPr bwMode="auto">
            <a:xfrm>
              <a:off x="2620226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1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8" name="任意多边形: 形状 777">
              <a:extLst>
                <a:ext uri="{FF2B5EF4-FFF2-40B4-BE49-F238E27FC236}">
                  <a16:creationId xmlns:a16="http://schemas.microsoft.com/office/drawing/2014/main" id="{BA87A9CF-4811-4336-9DD7-C47F8E4410DE}"/>
                </a:ext>
              </a:extLst>
            </p:cNvPr>
            <p:cNvSpPr/>
            <p:nvPr/>
          </p:nvSpPr>
          <p:spPr bwMode="auto">
            <a:xfrm>
              <a:off x="2580109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9" name="任意多边形: 形状 778">
              <a:extLst>
                <a:ext uri="{FF2B5EF4-FFF2-40B4-BE49-F238E27FC236}">
                  <a16:creationId xmlns:a16="http://schemas.microsoft.com/office/drawing/2014/main" id="{426605C3-9906-4164-8523-C63D39786C39}"/>
                </a:ext>
              </a:extLst>
            </p:cNvPr>
            <p:cNvSpPr/>
            <p:nvPr/>
          </p:nvSpPr>
          <p:spPr bwMode="auto">
            <a:xfrm>
              <a:off x="2539993" y="2356565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2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0" name="任意多边形: 形状 779">
              <a:extLst>
                <a:ext uri="{FF2B5EF4-FFF2-40B4-BE49-F238E27FC236}">
                  <a16:creationId xmlns:a16="http://schemas.microsoft.com/office/drawing/2014/main" id="{416B09AE-A79A-4206-B781-362F81C8FA58}"/>
                </a:ext>
              </a:extLst>
            </p:cNvPr>
            <p:cNvSpPr/>
            <p:nvPr/>
          </p:nvSpPr>
          <p:spPr bwMode="auto">
            <a:xfrm>
              <a:off x="2496790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4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1" name="任意多边形: 形状 780">
              <a:extLst>
                <a:ext uri="{FF2B5EF4-FFF2-40B4-BE49-F238E27FC236}">
                  <a16:creationId xmlns:a16="http://schemas.microsoft.com/office/drawing/2014/main" id="{7F526FC1-5111-4BF3-B0C7-28D425153F6A}"/>
                </a:ext>
              </a:extLst>
            </p:cNvPr>
            <p:cNvSpPr/>
            <p:nvPr/>
          </p:nvSpPr>
          <p:spPr bwMode="auto">
            <a:xfrm>
              <a:off x="2456674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2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2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2" name="任意多边形: 形状 781">
              <a:extLst>
                <a:ext uri="{FF2B5EF4-FFF2-40B4-BE49-F238E27FC236}">
                  <a16:creationId xmlns:a16="http://schemas.microsoft.com/office/drawing/2014/main" id="{706C5B52-22CB-46BB-852D-D40761B6B9E2}"/>
                </a:ext>
              </a:extLst>
            </p:cNvPr>
            <p:cNvSpPr/>
            <p:nvPr/>
          </p:nvSpPr>
          <p:spPr bwMode="auto">
            <a:xfrm>
              <a:off x="2413471" y="2623494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4" y="0"/>
                    <a:pt x="5" y="4"/>
                    <a:pt x="2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3" name="任意多边形: 形状 782">
              <a:extLst>
                <a:ext uri="{FF2B5EF4-FFF2-40B4-BE49-F238E27FC236}">
                  <a16:creationId xmlns:a16="http://schemas.microsoft.com/office/drawing/2014/main" id="{87CA7AF1-DB9E-4DEF-BD31-4969901A52D1}"/>
                </a:ext>
              </a:extLst>
            </p:cNvPr>
            <p:cNvSpPr/>
            <p:nvPr/>
          </p:nvSpPr>
          <p:spPr bwMode="auto">
            <a:xfrm>
              <a:off x="2365639" y="2714528"/>
              <a:ext cx="134237" cy="80233"/>
            </a:xfrm>
            <a:custGeom>
              <a:avLst/>
              <a:gdLst>
                <a:gd name="T0" fmla="*/ 35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4 w 37"/>
                <a:gd name="T7" fmla="*/ 22 h 22"/>
                <a:gd name="T8" fmla="*/ 35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5" y="11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4" name="任意多边形: 形状 783">
              <a:extLst>
                <a:ext uri="{FF2B5EF4-FFF2-40B4-BE49-F238E27FC236}">
                  <a16:creationId xmlns:a16="http://schemas.microsoft.com/office/drawing/2014/main" id="{E41B7481-AF8A-4F26-A854-0AC85B4DEA05}"/>
                </a:ext>
              </a:extLst>
            </p:cNvPr>
            <p:cNvSpPr/>
            <p:nvPr/>
          </p:nvSpPr>
          <p:spPr bwMode="auto">
            <a:xfrm>
              <a:off x="2317808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3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5" name="任意多边形: 形状 784">
              <a:extLst>
                <a:ext uri="{FF2B5EF4-FFF2-40B4-BE49-F238E27FC236}">
                  <a16:creationId xmlns:a16="http://schemas.microsoft.com/office/drawing/2014/main" id="{C80AB4D6-DF5C-49BC-8D6E-4E17EAA02044}"/>
                </a:ext>
              </a:extLst>
            </p:cNvPr>
            <p:cNvSpPr/>
            <p:nvPr/>
          </p:nvSpPr>
          <p:spPr bwMode="auto">
            <a:xfrm>
              <a:off x="2269977" y="2907396"/>
              <a:ext cx="143495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6" name="任意多边形: 形状 785">
              <a:extLst>
                <a:ext uri="{FF2B5EF4-FFF2-40B4-BE49-F238E27FC236}">
                  <a16:creationId xmlns:a16="http://schemas.microsoft.com/office/drawing/2014/main" id="{29858D1A-D54B-4E1C-9B25-41D5B443A5CF}"/>
                </a:ext>
              </a:extLst>
            </p:cNvPr>
            <p:cNvSpPr/>
            <p:nvPr/>
          </p:nvSpPr>
          <p:spPr bwMode="auto">
            <a:xfrm>
              <a:off x="2354839" y="1734757"/>
              <a:ext cx="115721" cy="58632"/>
            </a:xfrm>
            <a:custGeom>
              <a:avLst/>
              <a:gdLst>
                <a:gd name="T0" fmla="*/ 29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1 w 32"/>
                <a:gd name="T7" fmla="*/ 16 h 16"/>
                <a:gd name="T8" fmla="*/ 29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29" y="8"/>
                  </a:moveTo>
                  <a:cubicBezTo>
                    <a:pt x="32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1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7" name="任意多边形: 形状 786">
              <a:extLst>
                <a:ext uri="{FF2B5EF4-FFF2-40B4-BE49-F238E27FC236}">
                  <a16:creationId xmlns:a16="http://schemas.microsoft.com/office/drawing/2014/main" id="{290C8E7C-914D-407D-9365-EE11D6D855C6}"/>
                </a:ext>
              </a:extLst>
            </p:cNvPr>
            <p:cNvSpPr/>
            <p:nvPr/>
          </p:nvSpPr>
          <p:spPr bwMode="auto">
            <a:xfrm>
              <a:off x="2475189" y="1734757"/>
              <a:ext cx="115721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2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8" name="任意多边形: 形状 787">
              <a:extLst>
                <a:ext uri="{FF2B5EF4-FFF2-40B4-BE49-F238E27FC236}">
                  <a16:creationId xmlns:a16="http://schemas.microsoft.com/office/drawing/2014/main" id="{39B744AF-609C-442D-9581-9F6D6BFA064E}"/>
                </a:ext>
              </a:extLst>
            </p:cNvPr>
            <p:cNvSpPr/>
            <p:nvPr/>
          </p:nvSpPr>
          <p:spPr bwMode="auto">
            <a:xfrm>
              <a:off x="2595539" y="1734757"/>
              <a:ext cx="117264" cy="58632"/>
            </a:xfrm>
            <a:custGeom>
              <a:avLst/>
              <a:gdLst>
                <a:gd name="T0" fmla="*/ 30 w 32"/>
                <a:gd name="T1" fmla="*/ 8 h 16"/>
                <a:gd name="T2" fmla="*/ 20 w 32"/>
                <a:gd name="T3" fmla="*/ 0 h 16"/>
                <a:gd name="T4" fmla="*/ 3 w 32"/>
                <a:gd name="T5" fmla="*/ 8 h 16"/>
                <a:gd name="T6" fmla="*/ 12 w 32"/>
                <a:gd name="T7" fmla="*/ 16 h 16"/>
                <a:gd name="T8" fmla="*/ 30 w 32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6">
                  <a:moveTo>
                    <a:pt x="30" y="8"/>
                  </a:moveTo>
                  <a:cubicBezTo>
                    <a:pt x="32" y="3"/>
                    <a:pt x="28" y="0"/>
                    <a:pt x="20" y="0"/>
                  </a:cubicBezTo>
                  <a:cubicBezTo>
                    <a:pt x="13" y="0"/>
                    <a:pt x="5" y="3"/>
                    <a:pt x="3" y="8"/>
                  </a:cubicBezTo>
                  <a:cubicBezTo>
                    <a:pt x="0" y="12"/>
                    <a:pt x="5" y="16"/>
                    <a:pt x="12" y="16"/>
                  </a:cubicBezTo>
                  <a:cubicBezTo>
                    <a:pt x="20" y="16"/>
                    <a:pt x="28" y="12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9" name="任意多边形: 形状 788">
              <a:extLst>
                <a:ext uri="{FF2B5EF4-FFF2-40B4-BE49-F238E27FC236}">
                  <a16:creationId xmlns:a16="http://schemas.microsoft.com/office/drawing/2014/main" id="{D17EDD5C-4D3B-49E3-9297-7D9CCE3E8626}"/>
                </a:ext>
              </a:extLst>
            </p:cNvPr>
            <p:cNvSpPr/>
            <p:nvPr/>
          </p:nvSpPr>
          <p:spPr bwMode="auto">
            <a:xfrm>
              <a:off x="2558508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3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0" name="任意多边形: 形状 789">
              <a:extLst>
                <a:ext uri="{FF2B5EF4-FFF2-40B4-BE49-F238E27FC236}">
                  <a16:creationId xmlns:a16="http://schemas.microsoft.com/office/drawing/2014/main" id="{538329F5-50E9-497A-9FBB-9F82262A44FD}"/>
                </a:ext>
              </a:extLst>
            </p:cNvPr>
            <p:cNvSpPr/>
            <p:nvPr/>
          </p:nvSpPr>
          <p:spPr bwMode="auto">
            <a:xfrm>
              <a:off x="2523020" y="1878251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1" name="任意多边形: 形状 790">
              <a:extLst>
                <a:ext uri="{FF2B5EF4-FFF2-40B4-BE49-F238E27FC236}">
                  <a16:creationId xmlns:a16="http://schemas.microsoft.com/office/drawing/2014/main" id="{E2CB79A5-2C85-493C-94A3-A407BCAE4439}"/>
                </a:ext>
              </a:extLst>
            </p:cNvPr>
            <p:cNvSpPr/>
            <p:nvPr/>
          </p:nvSpPr>
          <p:spPr bwMode="auto">
            <a:xfrm>
              <a:off x="2482903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2" name="任意多边形: 形状 791">
              <a:extLst>
                <a:ext uri="{FF2B5EF4-FFF2-40B4-BE49-F238E27FC236}">
                  <a16:creationId xmlns:a16="http://schemas.microsoft.com/office/drawing/2014/main" id="{826BC296-24A2-4AAA-B1E6-C0EEE875E21B}"/>
                </a:ext>
              </a:extLst>
            </p:cNvPr>
            <p:cNvSpPr/>
            <p:nvPr/>
          </p:nvSpPr>
          <p:spPr bwMode="auto">
            <a:xfrm>
              <a:off x="2442787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3" name="任意多边形: 形状 792">
              <a:extLst>
                <a:ext uri="{FF2B5EF4-FFF2-40B4-BE49-F238E27FC236}">
                  <a16:creationId xmlns:a16="http://schemas.microsoft.com/office/drawing/2014/main" id="{AD1541CF-3289-42B9-846D-C90D7F2492EF}"/>
                </a:ext>
              </a:extLst>
            </p:cNvPr>
            <p:cNvSpPr/>
            <p:nvPr/>
          </p:nvSpPr>
          <p:spPr bwMode="auto">
            <a:xfrm>
              <a:off x="2401127" y="2108150"/>
              <a:ext cx="124979" cy="64804"/>
            </a:xfrm>
            <a:custGeom>
              <a:avLst/>
              <a:gdLst>
                <a:gd name="T0" fmla="*/ 31 w 34"/>
                <a:gd name="T1" fmla="*/ 9 h 18"/>
                <a:gd name="T2" fmla="*/ 21 w 34"/>
                <a:gd name="T3" fmla="*/ 0 h 18"/>
                <a:gd name="T4" fmla="*/ 2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4" name="任意多边形: 形状 793">
              <a:extLst>
                <a:ext uri="{FF2B5EF4-FFF2-40B4-BE49-F238E27FC236}">
                  <a16:creationId xmlns:a16="http://schemas.microsoft.com/office/drawing/2014/main" id="{5B6B64EE-9238-4856-8433-BD2BFF297076}"/>
                </a:ext>
              </a:extLst>
            </p:cNvPr>
            <p:cNvSpPr/>
            <p:nvPr/>
          </p:nvSpPr>
          <p:spPr bwMode="auto">
            <a:xfrm>
              <a:off x="2357925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5" name="任意多边形: 形状 794">
              <a:extLst>
                <a:ext uri="{FF2B5EF4-FFF2-40B4-BE49-F238E27FC236}">
                  <a16:creationId xmlns:a16="http://schemas.microsoft.com/office/drawing/2014/main" id="{66853CCE-8463-4126-AD5A-9C8CDF1BEFDF}"/>
                </a:ext>
              </a:extLst>
            </p:cNvPr>
            <p:cNvSpPr/>
            <p:nvPr/>
          </p:nvSpPr>
          <p:spPr bwMode="auto">
            <a:xfrm>
              <a:off x="2314722" y="2271702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6" name="任意多边形: 形状 795">
              <a:extLst>
                <a:ext uri="{FF2B5EF4-FFF2-40B4-BE49-F238E27FC236}">
                  <a16:creationId xmlns:a16="http://schemas.microsoft.com/office/drawing/2014/main" id="{1FE48987-FF6C-47F7-8BE3-8C7B48371921}"/>
                </a:ext>
              </a:extLst>
            </p:cNvPr>
            <p:cNvSpPr/>
            <p:nvPr/>
          </p:nvSpPr>
          <p:spPr bwMode="auto">
            <a:xfrm>
              <a:off x="2269977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7" name="任意多边形: 形状 796">
              <a:extLst>
                <a:ext uri="{FF2B5EF4-FFF2-40B4-BE49-F238E27FC236}">
                  <a16:creationId xmlns:a16="http://schemas.microsoft.com/office/drawing/2014/main" id="{D0169FAB-685F-4387-9AE2-FE4FAFA928C1}"/>
                </a:ext>
              </a:extLst>
            </p:cNvPr>
            <p:cNvSpPr/>
            <p:nvPr/>
          </p:nvSpPr>
          <p:spPr bwMode="auto">
            <a:xfrm>
              <a:off x="2226774" y="2439884"/>
              <a:ext cx="131151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8" name="任意多边形: 形状 797">
              <a:extLst>
                <a:ext uri="{FF2B5EF4-FFF2-40B4-BE49-F238E27FC236}">
                  <a16:creationId xmlns:a16="http://schemas.microsoft.com/office/drawing/2014/main" id="{66D841CC-2D33-426D-A2B1-8819059A59B6}"/>
                </a:ext>
              </a:extLst>
            </p:cNvPr>
            <p:cNvSpPr/>
            <p:nvPr/>
          </p:nvSpPr>
          <p:spPr bwMode="auto">
            <a:xfrm>
              <a:off x="2178943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9" name="任意多边形: 形状 798">
              <a:extLst>
                <a:ext uri="{FF2B5EF4-FFF2-40B4-BE49-F238E27FC236}">
                  <a16:creationId xmlns:a16="http://schemas.microsoft.com/office/drawing/2014/main" id="{7FF1FD0F-38BF-4BDC-A816-C5E89986A3AF}"/>
                </a:ext>
              </a:extLst>
            </p:cNvPr>
            <p:cNvSpPr/>
            <p:nvPr/>
          </p:nvSpPr>
          <p:spPr bwMode="auto">
            <a:xfrm>
              <a:off x="2131111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0" name="任意多边形: 形状 799">
              <a:extLst>
                <a:ext uri="{FF2B5EF4-FFF2-40B4-BE49-F238E27FC236}">
                  <a16:creationId xmlns:a16="http://schemas.microsoft.com/office/drawing/2014/main" id="{8266D503-C26F-4CB3-8097-9FE5EAAB0167}"/>
                </a:ext>
              </a:extLst>
            </p:cNvPr>
            <p:cNvSpPr/>
            <p:nvPr/>
          </p:nvSpPr>
          <p:spPr bwMode="auto">
            <a:xfrm>
              <a:off x="2189743" y="1804190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1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1" name="任意多边形: 形状 800">
              <a:extLst>
                <a:ext uri="{FF2B5EF4-FFF2-40B4-BE49-F238E27FC236}">
                  <a16:creationId xmlns:a16="http://schemas.microsoft.com/office/drawing/2014/main" id="{32221908-B5D3-48D8-BEF2-260117FAE1BB}"/>
                </a:ext>
              </a:extLst>
            </p:cNvPr>
            <p:cNvSpPr/>
            <p:nvPr/>
          </p:nvSpPr>
          <p:spPr bwMode="auto">
            <a:xfrm>
              <a:off x="2314722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1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7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2" name="任意多边形: 形状 801">
              <a:extLst>
                <a:ext uri="{FF2B5EF4-FFF2-40B4-BE49-F238E27FC236}">
                  <a16:creationId xmlns:a16="http://schemas.microsoft.com/office/drawing/2014/main" id="{A44BCC83-0F56-4C90-8A33-1C5395688609}"/>
                </a:ext>
              </a:extLst>
            </p:cNvPr>
            <p:cNvSpPr/>
            <p:nvPr/>
          </p:nvSpPr>
          <p:spPr bwMode="auto">
            <a:xfrm>
              <a:off x="2435072" y="1804190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8" y="0"/>
                    <a:pt x="21" y="0"/>
                  </a:cubicBezTo>
                  <a:cubicBezTo>
                    <a:pt x="13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3" name="任意多边形: 形状 802">
              <a:extLst>
                <a:ext uri="{FF2B5EF4-FFF2-40B4-BE49-F238E27FC236}">
                  <a16:creationId xmlns:a16="http://schemas.microsoft.com/office/drawing/2014/main" id="{BFAA61A1-D685-483C-BC73-D61692CA6FC6}"/>
                </a:ext>
              </a:extLst>
            </p:cNvPr>
            <p:cNvSpPr/>
            <p:nvPr/>
          </p:nvSpPr>
          <p:spPr bwMode="auto">
            <a:xfrm>
              <a:off x="1895041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4" name="任意多边形: 形状 803">
              <a:extLst>
                <a:ext uri="{FF2B5EF4-FFF2-40B4-BE49-F238E27FC236}">
                  <a16:creationId xmlns:a16="http://schemas.microsoft.com/office/drawing/2014/main" id="{EADFC02E-6B3C-4187-A54D-B7ACE28F1EF5}"/>
                </a:ext>
              </a:extLst>
            </p:cNvPr>
            <p:cNvSpPr/>
            <p:nvPr/>
          </p:nvSpPr>
          <p:spPr bwMode="auto">
            <a:xfrm>
              <a:off x="2023105" y="1878251"/>
              <a:ext cx="120350" cy="61718"/>
            </a:xfrm>
            <a:custGeom>
              <a:avLst/>
              <a:gdLst>
                <a:gd name="T0" fmla="*/ 30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1 w 33"/>
                <a:gd name="T7" fmla="*/ 17 h 17"/>
                <a:gd name="T8" fmla="*/ 30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0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5" name="任意多边形: 形状 804">
              <a:extLst>
                <a:ext uri="{FF2B5EF4-FFF2-40B4-BE49-F238E27FC236}">
                  <a16:creationId xmlns:a16="http://schemas.microsoft.com/office/drawing/2014/main" id="{8CB0AD21-BB7B-4622-99C4-8DBC7DD2D981}"/>
                </a:ext>
              </a:extLst>
            </p:cNvPr>
            <p:cNvSpPr/>
            <p:nvPr/>
          </p:nvSpPr>
          <p:spPr bwMode="auto">
            <a:xfrm>
              <a:off x="2146541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6" name="任意多边形: 形状 805">
              <a:extLst>
                <a:ext uri="{FF2B5EF4-FFF2-40B4-BE49-F238E27FC236}">
                  <a16:creationId xmlns:a16="http://schemas.microsoft.com/office/drawing/2014/main" id="{86335D1C-0389-47B5-B15E-87E56823A240}"/>
                </a:ext>
              </a:extLst>
            </p:cNvPr>
            <p:cNvSpPr/>
            <p:nvPr/>
          </p:nvSpPr>
          <p:spPr bwMode="auto">
            <a:xfrm>
              <a:off x="2269977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7" name="任意多边形: 形状 806">
              <a:extLst>
                <a:ext uri="{FF2B5EF4-FFF2-40B4-BE49-F238E27FC236}">
                  <a16:creationId xmlns:a16="http://schemas.microsoft.com/office/drawing/2014/main" id="{E50DD0A1-B005-4337-982E-DF0188B7083D}"/>
                </a:ext>
              </a:extLst>
            </p:cNvPr>
            <p:cNvSpPr/>
            <p:nvPr/>
          </p:nvSpPr>
          <p:spPr bwMode="auto">
            <a:xfrm>
              <a:off x="2394956" y="1878251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3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8" name="任意多边形: 形状 807">
              <a:extLst>
                <a:ext uri="{FF2B5EF4-FFF2-40B4-BE49-F238E27FC236}">
                  <a16:creationId xmlns:a16="http://schemas.microsoft.com/office/drawing/2014/main" id="{82276D07-740F-4FAA-AA10-BD318205E647}"/>
                </a:ext>
              </a:extLst>
            </p:cNvPr>
            <p:cNvSpPr/>
            <p:nvPr/>
          </p:nvSpPr>
          <p:spPr bwMode="auto">
            <a:xfrm>
              <a:off x="1850295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9" name="任意多边形: 形状 808">
              <a:extLst>
                <a:ext uri="{FF2B5EF4-FFF2-40B4-BE49-F238E27FC236}">
                  <a16:creationId xmlns:a16="http://schemas.microsoft.com/office/drawing/2014/main" id="{1FC00AF6-E51E-4A1B-BA1B-8BBF38A194D2}"/>
                </a:ext>
              </a:extLst>
            </p:cNvPr>
            <p:cNvSpPr/>
            <p:nvPr/>
          </p:nvSpPr>
          <p:spPr bwMode="auto">
            <a:xfrm>
              <a:off x="1975274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0" name="任意多边形: 形状 809">
              <a:extLst>
                <a:ext uri="{FF2B5EF4-FFF2-40B4-BE49-F238E27FC236}">
                  <a16:creationId xmlns:a16="http://schemas.microsoft.com/office/drawing/2014/main" id="{81CDC539-8D40-4E2E-8EC1-3C560333E42E}"/>
                </a:ext>
              </a:extLst>
            </p:cNvPr>
            <p:cNvSpPr/>
            <p:nvPr/>
          </p:nvSpPr>
          <p:spPr bwMode="auto">
            <a:xfrm>
              <a:off x="2103338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2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1" name="任意多边形: 形状 810">
              <a:extLst>
                <a:ext uri="{FF2B5EF4-FFF2-40B4-BE49-F238E27FC236}">
                  <a16:creationId xmlns:a16="http://schemas.microsoft.com/office/drawing/2014/main" id="{75696D79-3911-4E7C-AF43-07D52DDB0B2F}"/>
                </a:ext>
              </a:extLst>
            </p:cNvPr>
            <p:cNvSpPr/>
            <p:nvPr/>
          </p:nvSpPr>
          <p:spPr bwMode="auto">
            <a:xfrm>
              <a:off x="2229860" y="1953855"/>
              <a:ext cx="120350" cy="63261"/>
            </a:xfrm>
            <a:custGeom>
              <a:avLst/>
              <a:gdLst>
                <a:gd name="T0" fmla="*/ 31 w 33"/>
                <a:gd name="T1" fmla="*/ 8 h 17"/>
                <a:gd name="T2" fmla="*/ 21 w 33"/>
                <a:gd name="T3" fmla="*/ 0 h 17"/>
                <a:gd name="T4" fmla="*/ 2 w 33"/>
                <a:gd name="T5" fmla="*/ 8 h 17"/>
                <a:gd name="T6" fmla="*/ 12 w 33"/>
                <a:gd name="T7" fmla="*/ 17 h 17"/>
                <a:gd name="T8" fmla="*/ 31 w 33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8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2" name="任意多边形: 形状 811">
              <a:extLst>
                <a:ext uri="{FF2B5EF4-FFF2-40B4-BE49-F238E27FC236}">
                  <a16:creationId xmlns:a16="http://schemas.microsoft.com/office/drawing/2014/main" id="{F43437D9-DDBA-45D0-B7A2-F518DA84E337}"/>
                </a:ext>
              </a:extLst>
            </p:cNvPr>
            <p:cNvSpPr/>
            <p:nvPr/>
          </p:nvSpPr>
          <p:spPr bwMode="auto">
            <a:xfrm>
              <a:off x="2354839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1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8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3" name="任意多边形: 形状 812">
              <a:extLst>
                <a:ext uri="{FF2B5EF4-FFF2-40B4-BE49-F238E27FC236}">
                  <a16:creationId xmlns:a16="http://schemas.microsoft.com/office/drawing/2014/main" id="{0B6C04A7-DE55-42E1-9ACE-CB03AF67CE78}"/>
                </a:ext>
              </a:extLst>
            </p:cNvPr>
            <p:cNvSpPr/>
            <p:nvPr/>
          </p:nvSpPr>
          <p:spPr bwMode="auto">
            <a:xfrm>
              <a:off x="180400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4" name="任意多边形: 形状 813">
              <a:extLst>
                <a:ext uri="{FF2B5EF4-FFF2-40B4-BE49-F238E27FC236}">
                  <a16:creationId xmlns:a16="http://schemas.microsoft.com/office/drawing/2014/main" id="{55D2B7EF-F635-425F-BB68-AA571E0A1234}"/>
                </a:ext>
              </a:extLst>
            </p:cNvPr>
            <p:cNvSpPr/>
            <p:nvPr/>
          </p:nvSpPr>
          <p:spPr bwMode="auto">
            <a:xfrm>
              <a:off x="193052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5" name="任意多边形: 形状 814">
              <a:extLst>
                <a:ext uri="{FF2B5EF4-FFF2-40B4-BE49-F238E27FC236}">
                  <a16:creationId xmlns:a16="http://schemas.microsoft.com/office/drawing/2014/main" id="{DCA2D65D-3220-4606-AD64-3842EC37FF44}"/>
                </a:ext>
              </a:extLst>
            </p:cNvPr>
            <p:cNvSpPr/>
            <p:nvPr/>
          </p:nvSpPr>
          <p:spPr bwMode="auto">
            <a:xfrm>
              <a:off x="2058593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6" name="任意多边形: 形状 815">
              <a:extLst>
                <a:ext uri="{FF2B5EF4-FFF2-40B4-BE49-F238E27FC236}">
                  <a16:creationId xmlns:a16="http://schemas.microsoft.com/office/drawing/2014/main" id="{DB10120C-8BFB-4F00-B441-AE2FF715A7EA}"/>
                </a:ext>
              </a:extLst>
            </p:cNvPr>
            <p:cNvSpPr/>
            <p:nvPr/>
          </p:nvSpPr>
          <p:spPr bwMode="auto">
            <a:xfrm>
              <a:off x="2186657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7" name="任意多边形: 形状 816">
              <a:extLst>
                <a:ext uri="{FF2B5EF4-FFF2-40B4-BE49-F238E27FC236}">
                  <a16:creationId xmlns:a16="http://schemas.microsoft.com/office/drawing/2014/main" id="{0766B83A-17D3-45AF-9B46-2DA3A3DAA58F}"/>
                </a:ext>
              </a:extLst>
            </p:cNvPr>
            <p:cNvSpPr/>
            <p:nvPr/>
          </p:nvSpPr>
          <p:spPr bwMode="auto">
            <a:xfrm>
              <a:off x="231472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1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29" y="0"/>
                    <a:pt x="21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8" name="任意多边形: 形状 817">
              <a:extLst>
                <a:ext uri="{FF2B5EF4-FFF2-40B4-BE49-F238E27FC236}">
                  <a16:creationId xmlns:a16="http://schemas.microsoft.com/office/drawing/2014/main" id="{A9505C60-9FC9-4274-AB34-AF822477D697}"/>
                </a:ext>
              </a:extLst>
            </p:cNvPr>
            <p:cNvSpPr/>
            <p:nvPr/>
          </p:nvSpPr>
          <p:spPr bwMode="auto">
            <a:xfrm>
              <a:off x="1625025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9" name="任意多边形: 形状 818">
              <a:extLst>
                <a:ext uri="{FF2B5EF4-FFF2-40B4-BE49-F238E27FC236}">
                  <a16:creationId xmlns:a16="http://schemas.microsoft.com/office/drawing/2014/main" id="{B99EB427-1AAD-4BAD-A885-4557396F49BA}"/>
                </a:ext>
              </a:extLst>
            </p:cNvPr>
            <p:cNvSpPr/>
            <p:nvPr/>
          </p:nvSpPr>
          <p:spPr bwMode="auto">
            <a:xfrm>
              <a:off x="1753090" y="2108150"/>
              <a:ext cx="126522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0" name="任意多边形: 形状 819">
              <a:extLst>
                <a:ext uri="{FF2B5EF4-FFF2-40B4-BE49-F238E27FC236}">
                  <a16:creationId xmlns:a16="http://schemas.microsoft.com/office/drawing/2014/main" id="{6DFBD531-B4A0-45D5-9141-545168698446}"/>
                </a:ext>
              </a:extLst>
            </p:cNvPr>
            <p:cNvSpPr/>
            <p:nvPr/>
          </p:nvSpPr>
          <p:spPr bwMode="auto">
            <a:xfrm>
              <a:off x="1884240" y="2108150"/>
              <a:ext cx="123436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1" name="任意多边形: 形状 820">
              <a:extLst>
                <a:ext uri="{FF2B5EF4-FFF2-40B4-BE49-F238E27FC236}">
                  <a16:creationId xmlns:a16="http://schemas.microsoft.com/office/drawing/2014/main" id="{E87228D9-F24F-4A54-9CB2-3DF582F51A3B}"/>
                </a:ext>
              </a:extLst>
            </p:cNvPr>
            <p:cNvSpPr/>
            <p:nvPr/>
          </p:nvSpPr>
          <p:spPr bwMode="auto">
            <a:xfrm>
              <a:off x="2010761" y="2108150"/>
              <a:ext cx="128065" cy="64804"/>
            </a:xfrm>
            <a:custGeom>
              <a:avLst/>
              <a:gdLst>
                <a:gd name="T0" fmla="*/ 32 w 35"/>
                <a:gd name="T1" fmla="*/ 9 h 18"/>
                <a:gd name="T2" fmla="*/ 23 w 35"/>
                <a:gd name="T3" fmla="*/ 0 h 18"/>
                <a:gd name="T4" fmla="*/ 3 w 35"/>
                <a:gd name="T5" fmla="*/ 9 h 18"/>
                <a:gd name="T6" fmla="*/ 12 w 35"/>
                <a:gd name="T7" fmla="*/ 18 h 18"/>
                <a:gd name="T8" fmla="*/ 32 w 35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8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2" name="任意多边形: 形状 821">
              <a:extLst>
                <a:ext uri="{FF2B5EF4-FFF2-40B4-BE49-F238E27FC236}">
                  <a16:creationId xmlns:a16="http://schemas.microsoft.com/office/drawing/2014/main" id="{0D411508-0608-492C-A766-EAAD3FA9F14F}"/>
                </a:ext>
              </a:extLst>
            </p:cNvPr>
            <p:cNvSpPr/>
            <p:nvPr/>
          </p:nvSpPr>
          <p:spPr bwMode="auto">
            <a:xfrm>
              <a:off x="2143455" y="2108150"/>
              <a:ext cx="123436" cy="64804"/>
            </a:xfrm>
            <a:custGeom>
              <a:avLst/>
              <a:gdLst>
                <a:gd name="T0" fmla="*/ 31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2 w 34"/>
                <a:gd name="T7" fmla="*/ 18 h 18"/>
                <a:gd name="T8" fmla="*/ 31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3" name="任意多边形: 形状 822">
              <a:extLst>
                <a:ext uri="{FF2B5EF4-FFF2-40B4-BE49-F238E27FC236}">
                  <a16:creationId xmlns:a16="http://schemas.microsoft.com/office/drawing/2014/main" id="{23BD6B21-DFDF-4B06-BD67-8461C48EB0D7}"/>
                </a:ext>
              </a:extLst>
            </p:cNvPr>
            <p:cNvSpPr/>
            <p:nvPr/>
          </p:nvSpPr>
          <p:spPr bwMode="auto">
            <a:xfrm>
              <a:off x="2269977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4" name="任意多边形: 形状 823">
              <a:extLst>
                <a:ext uri="{FF2B5EF4-FFF2-40B4-BE49-F238E27FC236}">
                  <a16:creationId xmlns:a16="http://schemas.microsoft.com/office/drawing/2014/main" id="{3E83230E-E26C-4273-9046-81E85F8B8B22}"/>
                </a:ext>
              </a:extLst>
            </p:cNvPr>
            <p:cNvSpPr/>
            <p:nvPr/>
          </p:nvSpPr>
          <p:spPr bwMode="auto">
            <a:xfrm>
              <a:off x="1023276" y="1878251"/>
              <a:ext cx="126522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5" name="任意多边形: 形状 824">
              <a:extLst>
                <a:ext uri="{FF2B5EF4-FFF2-40B4-BE49-F238E27FC236}">
                  <a16:creationId xmlns:a16="http://schemas.microsoft.com/office/drawing/2014/main" id="{D6B1234E-62C9-40F8-8A5F-B19006739E2F}"/>
                </a:ext>
              </a:extLst>
            </p:cNvPr>
            <p:cNvSpPr/>
            <p:nvPr/>
          </p:nvSpPr>
          <p:spPr bwMode="auto">
            <a:xfrm>
              <a:off x="1146711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3 w 35"/>
                <a:gd name="T5" fmla="*/ 9 h 17"/>
                <a:gd name="T6" fmla="*/ 11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6" name="任意多边形: 形状 825">
              <a:extLst>
                <a:ext uri="{FF2B5EF4-FFF2-40B4-BE49-F238E27FC236}">
                  <a16:creationId xmlns:a16="http://schemas.microsoft.com/office/drawing/2014/main" id="{52859940-47BD-4898-8640-940264A40321}"/>
                </a:ext>
              </a:extLst>
            </p:cNvPr>
            <p:cNvSpPr/>
            <p:nvPr/>
          </p:nvSpPr>
          <p:spPr bwMode="auto">
            <a:xfrm>
              <a:off x="1270147" y="1878251"/>
              <a:ext cx="128065" cy="61718"/>
            </a:xfrm>
            <a:custGeom>
              <a:avLst/>
              <a:gdLst>
                <a:gd name="T0" fmla="*/ 31 w 35"/>
                <a:gd name="T1" fmla="*/ 9 h 17"/>
                <a:gd name="T2" fmla="*/ 23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1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7" name="任意多边形: 形状 826">
              <a:extLst>
                <a:ext uri="{FF2B5EF4-FFF2-40B4-BE49-F238E27FC236}">
                  <a16:creationId xmlns:a16="http://schemas.microsoft.com/office/drawing/2014/main" id="{83C8BDD1-99F8-46C8-AA85-A3A04765CDB8}"/>
                </a:ext>
              </a:extLst>
            </p:cNvPr>
            <p:cNvSpPr/>
            <p:nvPr/>
          </p:nvSpPr>
          <p:spPr bwMode="auto">
            <a:xfrm>
              <a:off x="1398211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7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8" name="任意多边形: 形状 827">
              <a:extLst>
                <a:ext uri="{FF2B5EF4-FFF2-40B4-BE49-F238E27FC236}">
                  <a16:creationId xmlns:a16="http://schemas.microsoft.com/office/drawing/2014/main" id="{25B529BA-BAA2-4F55-83C2-F8ABFB486797}"/>
                </a:ext>
              </a:extLst>
            </p:cNvPr>
            <p:cNvSpPr/>
            <p:nvPr/>
          </p:nvSpPr>
          <p:spPr bwMode="auto">
            <a:xfrm>
              <a:off x="1523190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9" name="任意多边形: 形状 828">
              <a:extLst>
                <a:ext uri="{FF2B5EF4-FFF2-40B4-BE49-F238E27FC236}">
                  <a16:creationId xmlns:a16="http://schemas.microsoft.com/office/drawing/2014/main" id="{878E2E94-9E01-43E2-9858-AA6D5E6510D5}"/>
                </a:ext>
              </a:extLst>
            </p:cNvPr>
            <p:cNvSpPr/>
            <p:nvPr/>
          </p:nvSpPr>
          <p:spPr bwMode="auto">
            <a:xfrm>
              <a:off x="1646626" y="1878251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0" name="任意多边形: 形状 829">
              <a:extLst>
                <a:ext uri="{FF2B5EF4-FFF2-40B4-BE49-F238E27FC236}">
                  <a16:creationId xmlns:a16="http://schemas.microsoft.com/office/drawing/2014/main" id="{573453C6-4C60-414F-9CF8-B4743C641E93}"/>
                </a:ext>
              </a:extLst>
            </p:cNvPr>
            <p:cNvSpPr/>
            <p:nvPr/>
          </p:nvSpPr>
          <p:spPr bwMode="auto">
            <a:xfrm>
              <a:off x="1770062" y="1878251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2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1" name="任意多边形: 形状 830">
              <a:extLst>
                <a:ext uri="{FF2B5EF4-FFF2-40B4-BE49-F238E27FC236}">
                  <a16:creationId xmlns:a16="http://schemas.microsoft.com/office/drawing/2014/main" id="{7335EC79-2D07-4337-B3DF-58E5F67CD796}"/>
                </a:ext>
              </a:extLst>
            </p:cNvPr>
            <p:cNvSpPr/>
            <p:nvPr/>
          </p:nvSpPr>
          <p:spPr bwMode="auto">
            <a:xfrm>
              <a:off x="839665" y="1953855"/>
              <a:ext cx="128065" cy="63261"/>
            </a:xfrm>
            <a:custGeom>
              <a:avLst/>
              <a:gdLst>
                <a:gd name="T0" fmla="*/ 31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1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1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2" name="任意多边形: 形状 831">
              <a:extLst>
                <a:ext uri="{FF2B5EF4-FFF2-40B4-BE49-F238E27FC236}">
                  <a16:creationId xmlns:a16="http://schemas.microsoft.com/office/drawing/2014/main" id="{6602C449-CD4C-4A18-983A-1A3F66383C37}"/>
                </a:ext>
              </a:extLst>
            </p:cNvPr>
            <p:cNvSpPr/>
            <p:nvPr/>
          </p:nvSpPr>
          <p:spPr bwMode="auto">
            <a:xfrm>
              <a:off x="964644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3" name="任意多边形: 形状 832">
              <a:extLst>
                <a:ext uri="{FF2B5EF4-FFF2-40B4-BE49-F238E27FC236}">
                  <a16:creationId xmlns:a16="http://schemas.microsoft.com/office/drawing/2014/main" id="{5C024A59-14A5-41C2-89BA-36D9C79DC692}"/>
                </a:ext>
              </a:extLst>
            </p:cNvPr>
            <p:cNvSpPr/>
            <p:nvPr/>
          </p:nvSpPr>
          <p:spPr bwMode="auto">
            <a:xfrm>
              <a:off x="1091165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3 w 35"/>
                <a:gd name="T5" fmla="*/ 8 h 17"/>
                <a:gd name="T6" fmla="*/ 11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4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4" name="任意多边形: 形状 833">
              <a:extLst>
                <a:ext uri="{FF2B5EF4-FFF2-40B4-BE49-F238E27FC236}">
                  <a16:creationId xmlns:a16="http://schemas.microsoft.com/office/drawing/2014/main" id="{E1BE494B-FE3D-41A4-B387-7252C6824CAA}"/>
                </a:ext>
              </a:extLst>
            </p:cNvPr>
            <p:cNvSpPr/>
            <p:nvPr/>
          </p:nvSpPr>
          <p:spPr bwMode="auto">
            <a:xfrm>
              <a:off x="1216144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4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5" name="任意多边形: 形状 834">
              <a:extLst>
                <a:ext uri="{FF2B5EF4-FFF2-40B4-BE49-F238E27FC236}">
                  <a16:creationId xmlns:a16="http://schemas.microsoft.com/office/drawing/2014/main" id="{99975A4A-840E-43F1-811E-29695A0447FE}"/>
                </a:ext>
              </a:extLst>
            </p:cNvPr>
            <p:cNvSpPr/>
            <p:nvPr/>
          </p:nvSpPr>
          <p:spPr bwMode="auto">
            <a:xfrm>
              <a:off x="1344209" y="1953855"/>
              <a:ext cx="126522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3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6" y="0"/>
                    <a:pt x="7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19" y="17"/>
                    <a:pt x="28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6" name="任意多边形: 形状 835">
              <a:extLst>
                <a:ext uri="{FF2B5EF4-FFF2-40B4-BE49-F238E27FC236}">
                  <a16:creationId xmlns:a16="http://schemas.microsoft.com/office/drawing/2014/main" id="{1039C532-4528-49B2-A50D-3FA385401007}"/>
                </a:ext>
              </a:extLst>
            </p:cNvPr>
            <p:cNvSpPr/>
            <p:nvPr/>
          </p:nvSpPr>
          <p:spPr bwMode="auto">
            <a:xfrm>
              <a:off x="1470730" y="1953855"/>
              <a:ext cx="124979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1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7" name="任意多边形: 形状 836">
              <a:extLst>
                <a:ext uri="{FF2B5EF4-FFF2-40B4-BE49-F238E27FC236}">
                  <a16:creationId xmlns:a16="http://schemas.microsoft.com/office/drawing/2014/main" id="{B9D6BEE4-8B4C-4F82-9D84-F567522F1E46}"/>
                </a:ext>
              </a:extLst>
            </p:cNvPr>
            <p:cNvSpPr/>
            <p:nvPr/>
          </p:nvSpPr>
          <p:spPr bwMode="auto">
            <a:xfrm>
              <a:off x="1595708" y="1953855"/>
              <a:ext cx="128065" cy="63261"/>
            </a:xfrm>
            <a:custGeom>
              <a:avLst/>
              <a:gdLst>
                <a:gd name="T0" fmla="*/ 32 w 35"/>
                <a:gd name="T1" fmla="*/ 8 h 17"/>
                <a:gd name="T2" fmla="*/ 23 w 35"/>
                <a:gd name="T3" fmla="*/ 0 h 17"/>
                <a:gd name="T4" fmla="*/ 4 w 35"/>
                <a:gd name="T5" fmla="*/ 8 h 17"/>
                <a:gd name="T6" fmla="*/ 12 w 35"/>
                <a:gd name="T7" fmla="*/ 17 h 17"/>
                <a:gd name="T8" fmla="*/ 32 w 35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8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7" y="4"/>
                    <a:pt x="4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8" name="任意多边形: 形状 837">
              <a:extLst>
                <a:ext uri="{FF2B5EF4-FFF2-40B4-BE49-F238E27FC236}">
                  <a16:creationId xmlns:a16="http://schemas.microsoft.com/office/drawing/2014/main" id="{E804A410-1750-4A82-A7F4-BBB2D7AFD040}"/>
                </a:ext>
              </a:extLst>
            </p:cNvPr>
            <p:cNvSpPr/>
            <p:nvPr/>
          </p:nvSpPr>
          <p:spPr bwMode="auto">
            <a:xfrm>
              <a:off x="1723773" y="1953855"/>
              <a:ext cx="123436" cy="63261"/>
            </a:xfrm>
            <a:custGeom>
              <a:avLst/>
              <a:gdLst>
                <a:gd name="T0" fmla="*/ 31 w 34"/>
                <a:gd name="T1" fmla="*/ 8 h 17"/>
                <a:gd name="T2" fmla="*/ 23 w 34"/>
                <a:gd name="T3" fmla="*/ 0 h 17"/>
                <a:gd name="T4" fmla="*/ 3 w 34"/>
                <a:gd name="T5" fmla="*/ 8 h 17"/>
                <a:gd name="T6" fmla="*/ 12 w 34"/>
                <a:gd name="T7" fmla="*/ 17 h 17"/>
                <a:gd name="T8" fmla="*/ 31 w 34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8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1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9" name="任意多边形: 形状 838">
              <a:extLst>
                <a:ext uri="{FF2B5EF4-FFF2-40B4-BE49-F238E27FC236}">
                  <a16:creationId xmlns:a16="http://schemas.microsoft.com/office/drawing/2014/main" id="{5E1D0635-12CA-41CC-A48A-646E9E6810D8}"/>
                </a:ext>
              </a:extLst>
            </p:cNvPr>
            <p:cNvSpPr/>
            <p:nvPr/>
          </p:nvSpPr>
          <p:spPr bwMode="auto">
            <a:xfrm>
              <a:off x="906012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5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5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0" name="任意多边形: 形状 839">
              <a:extLst>
                <a:ext uri="{FF2B5EF4-FFF2-40B4-BE49-F238E27FC236}">
                  <a16:creationId xmlns:a16="http://schemas.microsoft.com/office/drawing/2014/main" id="{A3287F30-39AF-4FA4-8E49-2D290C1BEF72}"/>
                </a:ext>
              </a:extLst>
            </p:cNvPr>
            <p:cNvSpPr/>
            <p:nvPr/>
          </p:nvSpPr>
          <p:spPr bwMode="auto">
            <a:xfrm>
              <a:off x="1034076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7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1" name="任意多边形: 形状 840">
              <a:extLst>
                <a:ext uri="{FF2B5EF4-FFF2-40B4-BE49-F238E27FC236}">
                  <a16:creationId xmlns:a16="http://schemas.microsoft.com/office/drawing/2014/main" id="{3ABEDD32-5C89-48DF-BFD8-717054608154}"/>
                </a:ext>
              </a:extLst>
            </p:cNvPr>
            <p:cNvSpPr/>
            <p:nvPr/>
          </p:nvSpPr>
          <p:spPr bwMode="auto">
            <a:xfrm>
              <a:off x="1160597" y="2031003"/>
              <a:ext cx="132693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2" name="任意多边形: 形状 841">
              <a:extLst>
                <a:ext uri="{FF2B5EF4-FFF2-40B4-BE49-F238E27FC236}">
                  <a16:creationId xmlns:a16="http://schemas.microsoft.com/office/drawing/2014/main" id="{403ACDA3-624B-433A-8C9C-D5A36DB422DD}"/>
                </a:ext>
              </a:extLst>
            </p:cNvPr>
            <p:cNvSpPr/>
            <p:nvPr/>
          </p:nvSpPr>
          <p:spPr bwMode="auto">
            <a:xfrm>
              <a:off x="1288663" y="2031003"/>
              <a:ext cx="131151" cy="61718"/>
            </a:xfrm>
            <a:custGeom>
              <a:avLst/>
              <a:gdLst>
                <a:gd name="T0" fmla="*/ 32 w 36"/>
                <a:gd name="T1" fmla="*/ 9 h 17"/>
                <a:gd name="T2" fmla="*/ 24 w 36"/>
                <a:gd name="T3" fmla="*/ 0 h 17"/>
                <a:gd name="T4" fmla="*/ 4 w 36"/>
                <a:gd name="T5" fmla="*/ 9 h 17"/>
                <a:gd name="T6" fmla="*/ 12 w 36"/>
                <a:gd name="T7" fmla="*/ 17 h 17"/>
                <a:gd name="T8" fmla="*/ 32 w 36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7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3" name="任意多边形: 形状 842">
              <a:extLst>
                <a:ext uri="{FF2B5EF4-FFF2-40B4-BE49-F238E27FC236}">
                  <a16:creationId xmlns:a16="http://schemas.microsoft.com/office/drawing/2014/main" id="{08B708B3-D33C-4691-A1EE-F73896C7FAF5}"/>
                </a:ext>
              </a:extLst>
            </p:cNvPr>
            <p:cNvSpPr/>
            <p:nvPr/>
          </p:nvSpPr>
          <p:spPr bwMode="auto">
            <a:xfrm>
              <a:off x="1416727" y="2031003"/>
              <a:ext cx="128065" cy="61718"/>
            </a:xfrm>
            <a:custGeom>
              <a:avLst/>
              <a:gdLst>
                <a:gd name="T0" fmla="*/ 32 w 35"/>
                <a:gd name="T1" fmla="*/ 9 h 17"/>
                <a:gd name="T2" fmla="*/ 24 w 35"/>
                <a:gd name="T3" fmla="*/ 0 h 17"/>
                <a:gd name="T4" fmla="*/ 4 w 35"/>
                <a:gd name="T5" fmla="*/ 9 h 17"/>
                <a:gd name="T6" fmla="*/ 12 w 35"/>
                <a:gd name="T7" fmla="*/ 17 h 17"/>
                <a:gd name="T8" fmla="*/ 32 w 35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7">
                  <a:moveTo>
                    <a:pt x="32" y="9"/>
                  </a:moveTo>
                  <a:cubicBezTo>
                    <a:pt x="35" y="4"/>
                    <a:pt x="32" y="0"/>
                    <a:pt x="24" y="0"/>
                  </a:cubicBezTo>
                  <a:cubicBezTo>
                    <a:pt x="16" y="0"/>
                    <a:pt x="7" y="4"/>
                    <a:pt x="4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9" y="13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4" name="任意多边形: 形状 843">
              <a:extLst>
                <a:ext uri="{FF2B5EF4-FFF2-40B4-BE49-F238E27FC236}">
                  <a16:creationId xmlns:a16="http://schemas.microsoft.com/office/drawing/2014/main" id="{07B241C4-71EF-4762-951A-3EC0EEE5B253}"/>
                </a:ext>
              </a:extLst>
            </p:cNvPr>
            <p:cNvSpPr/>
            <p:nvPr/>
          </p:nvSpPr>
          <p:spPr bwMode="auto">
            <a:xfrm>
              <a:off x="1547878" y="2031003"/>
              <a:ext cx="124979" cy="61718"/>
            </a:xfrm>
            <a:custGeom>
              <a:avLst/>
              <a:gdLst>
                <a:gd name="T0" fmla="*/ 31 w 34"/>
                <a:gd name="T1" fmla="*/ 9 h 17"/>
                <a:gd name="T2" fmla="*/ 23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3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5" name="任意多边形: 形状 844">
              <a:extLst>
                <a:ext uri="{FF2B5EF4-FFF2-40B4-BE49-F238E27FC236}">
                  <a16:creationId xmlns:a16="http://schemas.microsoft.com/office/drawing/2014/main" id="{CB4B821A-4643-4A0B-A8D4-48D89AD957F4}"/>
                </a:ext>
              </a:extLst>
            </p:cNvPr>
            <p:cNvSpPr/>
            <p:nvPr/>
          </p:nvSpPr>
          <p:spPr bwMode="auto">
            <a:xfrm>
              <a:off x="1675942" y="2031003"/>
              <a:ext cx="123436" cy="61718"/>
            </a:xfrm>
            <a:custGeom>
              <a:avLst/>
              <a:gdLst>
                <a:gd name="T0" fmla="*/ 31 w 34"/>
                <a:gd name="T1" fmla="*/ 9 h 17"/>
                <a:gd name="T2" fmla="*/ 22 w 34"/>
                <a:gd name="T3" fmla="*/ 0 h 17"/>
                <a:gd name="T4" fmla="*/ 3 w 34"/>
                <a:gd name="T5" fmla="*/ 9 h 17"/>
                <a:gd name="T6" fmla="*/ 11 w 34"/>
                <a:gd name="T7" fmla="*/ 17 h 17"/>
                <a:gd name="T8" fmla="*/ 31 w 34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7">
                  <a:moveTo>
                    <a:pt x="31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3"/>
                    <a:pt x="4" y="17"/>
                    <a:pt x="11" y="17"/>
                  </a:cubicBezTo>
                  <a:cubicBezTo>
                    <a:pt x="19" y="17"/>
                    <a:pt x="28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6" name="任意多边形: 形状 845">
              <a:extLst>
                <a:ext uri="{FF2B5EF4-FFF2-40B4-BE49-F238E27FC236}">
                  <a16:creationId xmlns:a16="http://schemas.microsoft.com/office/drawing/2014/main" id="{CDBAE866-D59E-414A-B18D-634CF618F33A}"/>
                </a:ext>
              </a:extLst>
            </p:cNvPr>
            <p:cNvSpPr/>
            <p:nvPr/>
          </p:nvSpPr>
          <p:spPr bwMode="auto">
            <a:xfrm>
              <a:off x="975444" y="2108150"/>
              <a:ext cx="131151" cy="64804"/>
            </a:xfrm>
            <a:custGeom>
              <a:avLst/>
              <a:gdLst>
                <a:gd name="T0" fmla="*/ 33 w 36"/>
                <a:gd name="T1" fmla="*/ 9 h 18"/>
                <a:gd name="T2" fmla="*/ 25 w 36"/>
                <a:gd name="T3" fmla="*/ 0 h 18"/>
                <a:gd name="T4" fmla="*/ 4 w 36"/>
                <a:gd name="T5" fmla="*/ 9 h 18"/>
                <a:gd name="T6" fmla="*/ 12 w 36"/>
                <a:gd name="T7" fmla="*/ 18 h 18"/>
                <a:gd name="T8" fmla="*/ 33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3" y="9"/>
                  </a:moveTo>
                  <a:cubicBezTo>
                    <a:pt x="36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8"/>
                    <a:pt x="12" y="18"/>
                  </a:cubicBezTo>
                  <a:cubicBezTo>
                    <a:pt x="20" y="18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7" name="任意多边形: 形状 846">
              <a:extLst>
                <a:ext uri="{FF2B5EF4-FFF2-40B4-BE49-F238E27FC236}">
                  <a16:creationId xmlns:a16="http://schemas.microsoft.com/office/drawing/2014/main" id="{12A60A0B-EB6A-4730-B290-1AA01B70B25C}"/>
                </a:ext>
              </a:extLst>
            </p:cNvPr>
            <p:cNvSpPr/>
            <p:nvPr/>
          </p:nvSpPr>
          <p:spPr bwMode="auto">
            <a:xfrm>
              <a:off x="1106595" y="2108150"/>
              <a:ext cx="131151" cy="64804"/>
            </a:xfrm>
            <a:custGeom>
              <a:avLst/>
              <a:gdLst>
                <a:gd name="T0" fmla="*/ 32 w 36"/>
                <a:gd name="T1" fmla="*/ 9 h 18"/>
                <a:gd name="T2" fmla="*/ 24 w 36"/>
                <a:gd name="T3" fmla="*/ 0 h 18"/>
                <a:gd name="T4" fmla="*/ 3 w 36"/>
                <a:gd name="T5" fmla="*/ 9 h 18"/>
                <a:gd name="T6" fmla="*/ 11 w 36"/>
                <a:gd name="T7" fmla="*/ 18 h 18"/>
                <a:gd name="T8" fmla="*/ 32 w 36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32" y="9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6" y="0"/>
                    <a:pt x="7" y="4"/>
                    <a:pt x="3" y="9"/>
                  </a:cubicBezTo>
                  <a:cubicBezTo>
                    <a:pt x="0" y="14"/>
                    <a:pt x="3" y="18"/>
                    <a:pt x="11" y="18"/>
                  </a:cubicBezTo>
                  <a:cubicBezTo>
                    <a:pt x="19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8" name="任意多边形: 形状 847">
              <a:extLst>
                <a:ext uri="{FF2B5EF4-FFF2-40B4-BE49-F238E27FC236}">
                  <a16:creationId xmlns:a16="http://schemas.microsoft.com/office/drawing/2014/main" id="{96E59E7C-2B36-4BA4-B47C-B42B5A2C5845}"/>
                </a:ext>
              </a:extLst>
            </p:cNvPr>
            <p:cNvSpPr/>
            <p:nvPr/>
          </p:nvSpPr>
          <p:spPr bwMode="auto">
            <a:xfrm>
              <a:off x="654511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6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4" y="0"/>
                    <a:pt x="26" y="0"/>
                  </a:cubicBezTo>
                  <a:cubicBezTo>
                    <a:pt x="18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9" name="任意多边形: 形状 848">
              <a:extLst>
                <a:ext uri="{FF2B5EF4-FFF2-40B4-BE49-F238E27FC236}">
                  <a16:creationId xmlns:a16="http://schemas.microsoft.com/office/drawing/2014/main" id="{B187101D-1FAE-4432-A873-285ABB13150D}"/>
                </a:ext>
              </a:extLst>
            </p:cNvPr>
            <p:cNvSpPr/>
            <p:nvPr/>
          </p:nvSpPr>
          <p:spPr bwMode="auto">
            <a:xfrm>
              <a:off x="785662" y="2188383"/>
              <a:ext cx="134237" cy="69433"/>
            </a:xfrm>
            <a:custGeom>
              <a:avLst/>
              <a:gdLst>
                <a:gd name="T0" fmla="*/ 33 w 37"/>
                <a:gd name="T1" fmla="*/ 9 h 19"/>
                <a:gd name="T2" fmla="*/ 25 w 37"/>
                <a:gd name="T3" fmla="*/ 0 h 19"/>
                <a:gd name="T4" fmla="*/ 4 w 37"/>
                <a:gd name="T5" fmla="*/ 9 h 19"/>
                <a:gd name="T6" fmla="*/ 12 w 37"/>
                <a:gd name="T7" fmla="*/ 19 h 19"/>
                <a:gd name="T8" fmla="*/ 33 w 37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19">
                  <a:moveTo>
                    <a:pt x="33" y="9"/>
                  </a:moveTo>
                  <a:cubicBezTo>
                    <a:pt x="37" y="4"/>
                    <a:pt x="33" y="0"/>
                    <a:pt x="25" y="0"/>
                  </a:cubicBezTo>
                  <a:cubicBezTo>
                    <a:pt x="17" y="0"/>
                    <a:pt x="8" y="4"/>
                    <a:pt x="4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0" name="任意多边形: 形状 849">
              <a:extLst>
                <a:ext uri="{FF2B5EF4-FFF2-40B4-BE49-F238E27FC236}">
                  <a16:creationId xmlns:a16="http://schemas.microsoft.com/office/drawing/2014/main" id="{83A747EF-A878-42C1-AA24-0DB46F34593C}"/>
                </a:ext>
              </a:extLst>
            </p:cNvPr>
            <p:cNvSpPr/>
            <p:nvPr/>
          </p:nvSpPr>
          <p:spPr bwMode="auto">
            <a:xfrm>
              <a:off x="1836408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1" name="任意多边形: 形状 850">
              <a:extLst>
                <a:ext uri="{FF2B5EF4-FFF2-40B4-BE49-F238E27FC236}">
                  <a16:creationId xmlns:a16="http://schemas.microsoft.com/office/drawing/2014/main" id="{2A8442D9-5C95-4DCE-A5C8-AD7FD1E21512}"/>
                </a:ext>
              </a:extLst>
            </p:cNvPr>
            <p:cNvSpPr/>
            <p:nvPr/>
          </p:nvSpPr>
          <p:spPr bwMode="auto">
            <a:xfrm>
              <a:off x="1964473" y="2188383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2" name="任意多边形: 形状 851">
              <a:extLst>
                <a:ext uri="{FF2B5EF4-FFF2-40B4-BE49-F238E27FC236}">
                  <a16:creationId xmlns:a16="http://schemas.microsoft.com/office/drawing/2014/main" id="{C1A72C15-1C16-4441-AB77-CF83E93A6EE4}"/>
                </a:ext>
              </a:extLst>
            </p:cNvPr>
            <p:cNvSpPr/>
            <p:nvPr/>
          </p:nvSpPr>
          <p:spPr bwMode="auto">
            <a:xfrm>
              <a:off x="2095623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3" name="任意多边形: 形状 852">
              <a:extLst>
                <a:ext uri="{FF2B5EF4-FFF2-40B4-BE49-F238E27FC236}">
                  <a16:creationId xmlns:a16="http://schemas.microsoft.com/office/drawing/2014/main" id="{876502D7-291D-41C9-820F-F31C01BE81FA}"/>
                </a:ext>
              </a:extLst>
            </p:cNvPr>
            <p:cNvSpPr/>
            <p:nvPr/>
          </p:nvSpPr>
          <p:spPr bwMode="auto">
            <a:xfrm>
              <a:off x="2226774" y="2188383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4" name="任意多边形: 形状 853">
              <a:extLst>
                <a:ext uri="{FF2B5EF4-FFF2-40B4-BE49-F238E27FC236}">
                  <a16:creationId xmlns:a16="http://schemas.microsoft.com/office/drawing/2014/main" id="{4A8FF940-3C95-4B23-A4DC-A20ACDBDC5EA}"/>
                </a:ext>
              </a:extLst>
            </p:cNvPr>
            <p:cNvSpPr/>
            <p:nvPr/>
          </p:nvSpPr>
          <p:spPr bwMode="auto">
            <a:xfrm>
              <a:off x="178549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5" name="任意多边形: 形状 854">
              <a:extLst>
                <a:ext uri="{FF2B5EF4-FFF2-40B4-BE49-F238E27FC236}">
                  <a16:creationId xmlns:a16="http://schemas.microsoft.com/office/drawing/2014/main" id="{521ACC22-FCB3-4652-8C6A-C11F949E4FB3}"/>
                </a:ext>
              </a:extLst>
            </p:cNvPr>
            <p:cNvSpPr/>
            <p:nvPr/>
          </p:nvSpPr>
          <p:spPr bwMode="auto">
            <a:xfrm>
              <a:off x="1916641" y="2271702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6" name="任意多边形: 形状 855">
              <a:extLst>
                <a:ext uri="{FF2B5EF4-FFF2-40B4-BE49-F238E27FC236}">
                  <a16:creationId xmlns:a16="http://schemas.microsoft.com/office/drawing/2014/main" id="{5DCA5BA5-7D83-4710-A535-CE01EA52EDAB}"/>
                </a:ext>
              </a:extLst>
            </p:cNvPr>
            <p:cNvSpPr/>
            <p:nvPr/>
          </p:nvSpPr>
          <p:spPr bwMode="auto">
            <a:xfrm>
              <a:off x="2050878" y="2271702"/>
              <a:ext cx="128065" cy="69433"/>
            </a:xfrm>
            <a:custGeom>
              <a:avLst/>
              <a:gdLst>
                <a:gd name="T0" fmla="*/ 32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4" y="19"/>
                    <a:pt x="12" y="19"/>
                  </a:cubicBezTo>
                  <a:cubicBezTo>
                    <a:pt x="20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7" name="任意多边形: 形状 856">
              <a:extLst>
                <a:ext uri="{FF2B5EF4-FFF2-40B4-BE49-F238E27FC236}">
                  <a16:creationId xmlns:a16="http://schemas.microsoft.com/office/drawing/2014/main" id="{7B7F164E-CFAB-462E-8F49-54994990B60E}"/>
                </a:ext>
              </a:extLst>
            </p:cNvPr>
            <p:cNvSpPr/>
            <p:nvPr/>
          </p:nvSpPr>
          <p:spPr bwMode="auto">
            <a:xfrm>
              <a:off x="2183571" y="2271702"/>
              <a:ext cx="126522" cy="69433"/>
            </a:xfrm>
            <a:custGeom>
              <a:avLst/>
              <a:gdLst>
                <a:gd name="T0" fmla="*/ 32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2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2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4" y="0"/>
                    <a:pt x="6" y="4"/>
                    <a:pt x="3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30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8" name="任意多边形: 形状 857">
              <a:extLst>
                <a:ext uri="{FF2B5EF4-FFF2-40B4-BE49-F238E27FC236}">
                  <a16:creationId xmlns:a16="http://schemas.microsoft.com/office/drawing/2014/main" id="{3DDA73A6-B64E-41FE-87A7-587FD37F552D}"/>
                </a:ext>
              </a:extLst>
            </p:cNvPr>
            <p:cNvSpPr/>
            <p:nvPr/>
          </p:nvSpPr>
          <p:spPr bwMode="auto">
            <a:xfrm>
              <a:off x="186881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2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9" name="任意多边形: 形状 858">
              <a:extLst>
                <a:ext uri="{FF2B5EF4-FFF2-40B4-BE49-F238E27FC236}">
                  <a16:creationId xmlns:a16="http://schemas.microsoft.com/office/drawing/2014/main" id="{11D758B0-2775-44A7-AAE6-C21D0C310A0B}"/>
                </a:ext>
              </a:extLst>
            </p:cNvPr>
            <p:cNvSpPr/>
            <p:nvPr/>
          </p:nvSpPr>
          <p:spPr bwMode="auto">
            <a:xfrm>
              <a:off x="2004590" y="2356565"/>
              <a:ext cx="126522" cy="69433"/>
            </a:xfrm>
            <a:custGeom>
              <a:avLst/>
              <a:gdLst>
                <a:gd name="T0" fmla="*/ 33 w 35"/>
                <a:gd name="T1" fmla="*/ 9 h 19"/>
                <a:gd name="T2" fmla="*/ 23 w 35"/>
                <a:gd name="T3" fmla="*/ 0 h 19"/>
                <a:gd name="T4" fmla="*/ 3 w 35"/>
                <a:gd name="T5" fmla="*/ 9 h 19"/>
                <a:gd name="T6" fmla="*/ 12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4" y="19"/>
                    <a:pt x="12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0" name="任意多边形: 形状 859">
              <a:extLst>
                <a:ext uri="{FF2B5EF4-FFF2-40B4-BE49-F238E27FC236}">
                  <a16:creationId xmlns:a16="http://schemas.microsoft.com/office/drawing/2014/main" id="{80F7ACE4-B88F-4C7D-A934-C671B93B5FFB}"/>
                </a:ext>
              </a:extLst>
            </p:cNvPr>
            <p:cNvSpPr/>
            <p:nvPr/>
          </p:nvSpPr>
          <p:spPr bwMode="auto">
            <a:xfrm>
              <a:off x="2135740" y="2356565"/>
              <a:ext cx="131151" cy="69433"/>
            </a:xfrm>
            <a:custGeom>
              <a:avLst/>
              <a:gdLst>
                <a:gd name="T0" fmla="*/ 33 w 36"/>
                <a:gd name="T1" fmla="*/ 9 h 19"/>
                <a:gd name="T2" fmla="*/ 23 w 36"/>
                <a:gd name="T3" fmla="*/ 0 h 19"/>
                <a:gd name="T4" fmla="*/ 3 w 36"/>
                <a:gd name="T5" fmla="*/ 9 h 19"/>
                <a:gd name="T6" fmla="*/ 13 w 36"/>
                <a:gd name="T7" fmla="*/ 19 h 19"/>
                <a:gd name="T8" fmla="*/ 33 w 36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9">
                  <a:moveTo>
                    <a:pt x="33" y="9"/>
                  </a:moveTo>
                  <a:cubicBezTo>
                    <a:pt x="36" y="4"/>
                    <a:pt x="32" y="0"/>
                    <a:pt x="23" y="0"/>
                  </a:cubicBezTo>
                  <a:cubicBezTo>
                    <a:pt x="15" y="0"/>
                    <a:pt x="6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1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1" name="任意多边形: 形状 860">
              <a:extLst>
                <a:ext uri="{FF2B5EF4-FFF2-40B4-BE49-F238E27FC236}">
                  <a16:creationId xmlns:a16="http://schemas.microsoft.com/office/drawing/2014/main" id="{F41BDE6E-7CFC-4D82-BB91-67E1AFCDDDD6}"/>
                </a:ext>
              </a:extLst>
            </p:cNvPr>
            <p:cNvSpPr/>
            <p:nvPr/>
          </p:nvSpPr>
          <p:spPr bwMode="auto">
            <a:xfrm>
              <a:off x="1817893" y="2439884"/>
              <a:ext cx="135779" cy="74061"/>
            </a:xfrm>
            <a:custGeom>
              <a:avLst/>
              <a:gdLst>
                <a:gd name="T0" fmla="*/ 33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3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3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2" name="任意多边形: 形状 861">
              <a:extLst>
                <a:ext uri="{FF2B5EF4-FFF2-40B4-BE49-F238E27FC236}">
                  <a16:creationId xmlns:a16="http://schemas.microsoft.com/office/drawing/2014/main" id="{0D96CCDE-AA8A-469A-A02E-3C296DCFA48E}"/>
                </a:ext>
              </a:extLst>
            </p:cNvPr>
            <p:cNvSpPr/>
            <p:nvPr/>
          </p:nvSpPr>
          <p:spPr bwMode="auto">
            <a:xfrm>
              <a:off x="1953672" y="2439884"/>
              <a:ext cx="134237" cy="74061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5"/>
                    <a:pt x="32" y="0"/>
                    <a:pt x="24" y="0"/>
                  </a:cubicBezTo>
                  <a:cubicBezTo>
                    <a:pt x="16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1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3" name="任意多边形: 形状 862">
              <a:extLst>
                <a:ext uri="{FF2B5EF4-FFF2-40B4-BE49-F238E27FC236}">
                  <a16:creationId xmlns:a16="http://schemas.microsoft.com/office/drawing/2014/main" id="{D9EA01B2-38A5-48C9-8232-21FAD0BC70F9}"/>
                </a:ext>
              </a:extLst>
            </p:cNvPr>
            <p:cNvSpPr/>
            <p:nvPr/>
          </p:nvSpPr>
          <p:spPr bwMode="auto">
            <a:xfrm>
              <a:off x="2090995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2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5" y="5"/>
                    <a:pt x="2" y="10"/>
                  </a:cubicBezTo>
                  <a:cubicBezTo>
                    <a:pt x="0" y="16"/>
                    <a:pt x="4" y="20"/>
                    <a:pt x="12" y="20"/>
                  </a:cubicBezTo>
                  <a:cubicBezTo>
                    <a:pt x="21" y="20"/>
                    <a:pt x="30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4" name="任意多边形: 形状 863">
              <a:extLst>
                <a:ext uri="{FF2B5EF4-FFF2-40B4-BE49-F238E27FC236}">
                  <a16:creationId xmlns:a16="http://schemas.microsoft.com/office/drawing/2014/main" id="{23703AD1-4D33-4289-ADD9-56673681787C}"/>
                </a:ext>
              </a:extLst>
            </p:cNvPr>
            <p:cNvSpPr/>
            <p:nvPr/>
          </p:nvSpPr>
          <p:spPr bwMode="auto">
            <a:xfrm>
              <a:off x="1766976" y="2532461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4" y="20"/>
                    <a:pt x="13" y="20"/>
                  </a:cubicBezTo>
                  <a:cubicBezTo>
                    <a:pt x="21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5" name="任意多边形: 形状 864">
              <a:extLst>
                <a:ext uri="{FF2B5EF4-FFF2-40B4-BE49-F238E27FC236}">
                  <a16:creationId xmlns:a16="http://schemas.microsoft.com/office/drawing/2014/main" id="{133F394F-708B-429A-893C-2F81F54B0488}"/>
                </a:ext>
              </a:extLst>
            </p:cNvPr>
            <p:cNvSpPr/>
            <p:nvPr/>
          </p:nvSpPr>
          <p:spPr bwMode="auto">
            <a:xfrm>
              <a:off x="1905841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4 w 36"/>
                <a:gd name="T3" fmla="*/ 0 h 20"/>
                <a:gd name="T4" fmla="*/ 3 w 36"/>
                <a:gd name="T5" fmla="*/ 10 h 20"/>
                <a:gd name="T6" fmla="*/ 12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5"/>
                    <a:pt x="4" y="20"/>
                    <a:pt x="12" y="20"/>
                  </a:cubicBezTo>
                  <a:cubicBezTo>
                    <a:pt x="21" y="20"/>
                    <a:pt x="30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6" name="任意多边形: 形状 865">
              <a:extLst>
                <a:ext uri="{FF2B5EF4-FFF2-40B4-BE49-F238E27FC236}">
                  <a16:creationId xmlns:a16="http://schemas.microsoft.com/office/drawing/2014/main" id="{71C6FBE5-4B38-4BE5-8B48-2C08DB4736D5}"/>
                </a:ext>
              </a:extLst>
            </p:cNvPr>
            <p:cNvSpPr/>
            <p:nvPr/>
          </p:nvSpPr>
          <p:spPr bwMode="auto">
            <a:xfrm>
              <a:off x="2040077" y="2532461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3" y="0"/>
                    <a:pt x="24" y="0"/>
                  </a:cubicBezTo>
                  <a:cubicBezTo>
                    <a:pt x="16" y="0"/>
                    <a:pt x="6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7" name="任意多边形: 形状 866">
              <a:extLst>
                <a:ext uri="{FF2B5EF4-FFF2-40B4-BE49-F238E27FC236}">
                  <a16:creationId xmlns:a16="http://schemas.microsoft.com/office/drawing/2014/main" id="{BE3ACF76-A5EC-467C-9A62-2B6FF42C976D}"/>
                </a:ext>
              </a:extLst>
            </p:cNvPr>
            <p:cNvSpPr/>
            <p:nvPr/>
          </p:nvSpPr>
          <p:spPr bwMode="auto">
            <a:xfrm>
              <a:off x="1850295" y="2623494"/>
              <a:ext cx="138865" cy="72519"/>
            </a:xfrm>
            <a:custGeom>
              <a:avLst/>
              <a:gdLst>
                <a:gd name="T0" fmla="*/ 35 w 38"/>
                <a:gd name="T1" fmla="*/ 10 h 20"/>
                <a:gd name="T2" fmla="*/ 25 w 38"/>
                <a:gd name="T3" fmla="*/ 0 h 20"/>
                <a:gd name="T4" fmla="*/ 4 w 38"/>
                <a:gd name="T5" fmla="*/ 10 h 20"/>
                <a:gd name="T6" fmla="*/ 14 w 38"/>
                <a:gd name="T7" fmla="*/ 20 h 20"/>
                <a:gd name="T8" fmla="*/ 35 w 38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0">
                  <a:moveTo>
                    <a:pt x="35" y="10"/>
                  </a:moveTo>
                  <a:cubicBezTo>
                    <a:pt x="38" y="4"/>
                    <a:pt x="34" y="0"/>
                    <a:pt x="25" y="0"/>
                  </a:cubicBezTo>
                  <a:cubicBezTo>
                    <a:pt x="16" y="0"/>
                    <a:pt x="7" y="4"/>
                    <a:pt x="4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5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8" name="任意多边形: 形状 867">
              <a:extLst>
                <a:ext uri="{FF2B5EF4-FFF2-40B4-BE49-F238E27FC236}">
                  <a16:creationId xmlns:a16="http://schemas.microsoft.com/office/drawing/2014/main" id="{33E9E026-A854-44E5-B8B0-8E537C9AD4CD}"/>
                </a:ext>
              </a:extLst>
            </p:cNvPr>
            <p:cNvSpPr/>
            <p:nvPr/>
          </p:nvSpPr>
          <p:spPr bwMode="auto">
            <a:xfrm>
              <a:off x="1993789" y="2623494"/>
              <a:ext cx="134237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3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4" y="20"/>
                    <a:pt x="13" y="20"/>
                  </a:cubicBezTo>
                  <a:cubicBezTo>
                    <a:pt x="22" y="20"/>
                    <a:pt x="31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9" name="任意多边形: 形状 868">
              <a:extLst>
                <a:ext uri="{FF2B5EF4-FFF2-40B4-BE49-F238E27FC236}">
                  <a16:creationId xmlns:a16="http://schemas.microsoft.com/office/drawing/2014/main" id="{79C452FF-D83F-4E02-9EFC-AF5A333A592A}"/>
                </a:ext>
              </a:extLst>
            </p:cNvPr>
            <p:cNvSpPr/>
            <p:nvPr/>
          </p:nvSpPr>
          <p:spPr bwMode="auto">
            <a:xfrm>
              <a:off x="1942872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0" name="任意多边形: 形状 869">
              <a:extLst>
                <a:ext uri="{FF2B5EF4-FFF2-40B4-BE49-F238E27FC236}">
                  <a16:creationId xmlns:a16="http://schemas.microsoft.com/office/drawing/2014/main" id="{586E4DFA-23A3-47D8-8ADE-964155E79FD7}"/>
                </a:ext>
              </a:extLst>
            </p:cNvPr>
            <p:cNvSpPr/>
            <p:nvPr/>
          </p:nvSpPr>
          <p:spPr bwMode="auto">
            <a:xfrm>
              <a:off x="2084823" y="2714528"/>
              <a:ext cx="134237" cy="80233"/>
            </a:xfrm>
            <a:custGeom>
              <a:avLst/>
              <a:gdLst>
                <a:gd name="T0" fmla="*/ 34 w 37"/>
                <a:gd name="T1" fmla="*/ 11 h 22"/>
                <a:gd name="T2" fmla="*/ 24 w 37"/>
                <a:gd name="T3" fmla="*/ 0 h 22"/>
                <a:gd name="T4" fmla="*/ 3 w 37"/>
                <a:gd name="T5" fmla="*/ 11 h 22"/>
                <a:gd name="T6" fmla="*/ 13 w 37"/>
                <a:gd name="T7" fmla="*/ 22 h 22"/>
                <a:gd name="T8" fmla="*/ 34 w 37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34" y="11"/>
                  </a:moveTo>
                  <a:cubicBezTo>
                    <a:pt x="37" y="5"/>
                    <a:pt x="33" y="0"/>
                    <a:pt x="24" y="0"/>
                  </a:cubicBezTo>
                  <a:cubicBezTo>
                    <a:pt x="15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1" y="17"/>
                    <a:pt x="34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1" name="任意多边形: 形状 870">
              <a:extLst>
                <a:ext uri="{FF2B5EF4-FFF2-40B4-BE49-F238E27FC236}">
                  <a16:creationId xmlns:a16="http://schemas.microsoft.com/office/drawing/2014/main" id="{7873EC13-D733-4571-BC64-5BFBAABF68BD}"/>
                </a:ext>
              </a:extLst>
            </p:cNvPr>
            <p:cNvSpPr/>
            <p:nvPr/>
          </p:nvSpPr>
          <p:spPr bwMode="auto">
            <a:xfrm>
              <a:off x="2033905" y="2810191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3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4" y="22"/>
                    <a:pt x="13" y="22"/>
                  </a:cubicBezTo>
                  <a:cubicBezTo>
                    <a:pt x="22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2" name="任意多边形: 形状 871">
              <a:extLst>
                <a:ext uri="{FF2B5EF4-FFF2-40B4-BE49-F238E27FC236}">
                  <a16:creationId xmlns:a16="http://schemas.microsoft.com/office/drawing/2014/main" id="{4687566E-CD79-4D11-BDCD-EB0FEC95C8DA}"/>
                </a:ext>
              </a:extLst>
            </p:cNvPr>
            <p:cNvSpPr/>
            <p:nvPr/>
          </p:nvSpPr>
          <p:spPr bwMode="auto">
            <a:xfrm>
              <a:off x="2718973" y="1734757"/>
              <a:ext cx="114178" cy="58632"/>
            </a:xfrm>
            <a:custGeom>
              <a:avLst/>
              <a:gdLst>
                <a:gd name="T0" fmla="*/ 29 w 31"/>
                <a:gd name="T1" fmla="*/ 8 h 16"/>
                <a:gd name="T2" fmla="*/ 20 w 31"/>
                <a:gd name="T3" fmla="*/ 0 h 16"/>
                <a:gd name="T4" fmla="*/ 2 w 31"/>
                <a:gd name="T5" fmla="*/ 8 h 16"/>
                <a:gd name="T6" fmla="*/ 12 w 31"/>
                <a:gd name="T7" fmla="*/ 16 h 16"/>
                <a:gd name="T8" fmla="*/ 29 w 31"/>
                <a:gd name="T9" fmla="*/ 8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6">
                  <a:moveTo>
                    <a:pt x="29" y="8"/>
                  </a:moveTo>
                  <a:cubicBezTo>
                    <a:pt x="31" y="3"/>
                    <a:pt x="27" y="0"/>
                    <a:pt x="20" y="0"/>
                  </a:cubicBezTo>
                  <a:cubicBezTo>
                    <a:pt x="12" y="0"/>
                    <a:pt x="4" y="3"/>
                    <a:pt x="2" y="8"/>
                  </a:cubicBezTo>
                  <a:cubicBezTo>
                    <a:pt x="0" y="12"/>
                    <a:pt x="4" y="16"/>
                    <a:pt x="12" y="16"/>
                  </a:cubicBezTo>
                  <a:cubicBezTo>
                    <a:pt x="19" y="16"/>
                    <a:pt x="27" y="12"/>
                    <a:pt x="29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3" name="任意多边形: 形状 872">
              <a:extLst>
                <a:ext uri="{FF2B5EF4-FFF2-40B4-BE49-F238E27FC236}">
                  <a16:creationId xmlns:a16="http://schemas.microsoft.com/office/drawing/2014/main" id="{50FC2B31-57B7-4469-AED0-566347E7F6BE}"/>
                </a:ext>
              </a:extLst>
            </p:cNvPr>
            <p:cNvSpPr/>
            <p:nvPr/>
          </p:nvSpPr>
          <p:spPr bwMode="auto">
            <a:xfrm>
              <a:off x="2683486" y="1804190"/>
              <a:ext cx="115721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2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4" name="任意多边形: 形状 873">
              <a:extLst>
                <a:ext uri="{FF2B5EF4-FFF2-40B4-BE49-F238E27FC236}">
                  <a16:creationId xmlns:a16="http://schemas.microsoft.com/office/drawing/2014/main" id="{25F6F99A-C41E-420B-8F97-A52961D678B6}"/>
                </a:ext>
              </a:extLst>
            </p:cNvPr>
            <p:cNvSpPr/>
            <p:nvPr/>
          </p:nvSpPr>
          <p:spPr bwMode="auto">
            <a:xfrm>
              <a:off x="2646455" y="1878251"/>
              <a:ext cx="117264" cy="61718"/>
            </a:xfrm>
            <a:custGeom>
              <a:avLst/>
              <a:gdLst>
                <a:gd name="T0" fmla="*/ 30 w 32"/>
                <a:gd name="T1" fmla="*/ 9 h 17"/>
                <a:gd name="T2" fmla="*/ 20 w 32"/>
                <a:gd name="T3" fmla="*/ 0 h 17"/>
                <a:gd name="T4" fmla="*/ 2 w 32"/>
                <a:gd name="T5" fmla="*/ 9 h 17"/>
                <a:gd name="T6" fmla="*/ 12 w 32"/>
                <a:gd name="T7" fmla="*/ 17 h 17"/>
                <a:gd name="T8" fmla="*/ 30 w 32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9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5" name="任意多边形: 形状 874">
              <a:extLst>
                <a:ext uri="{FF2B5EF4-FFF2-40B4-BE49-F238E27FC236}">
                  <a16:creationId xmlns:a16="http://schemas.microsoft.com/office/drawing/2014/main" id="{26F36FFE-6113-4AB3-BE79-66074FBFE344}"/>
                </a:ext>
              </a:extLst>
            </p:cNvPr>
            <p:cNvSpPr/>
            <p:nvPr/>
          </p:nvSpPr>
          <p:spPr bwMode="auto">
            <a:xfrm>
              <a:off x="2609425" y="1953855"/>
              <a:ext cx="117264" cy="63261"/>
            </a:xfrm>
            <a:custGeom>
              <a:avLst/>
              <a:gdLst>
                <a:gd name="T0" fmla="*/ 30 w 32"/>
                <a:gd name="T1" fmla="*/ 8 h 17"/>
                <a:gd name="T2" fmla="*/ 20 w 32"/>
                <a:gd name="T3" fmla="*/ 0 h 17"/>
                <a:gd name="T4" fmla="*/ 2 w 32"/>
                <a:gd name="T5" fmla="*/ 8 h 17"/>
                <a:gd name="T6" fmla="*/ 12 w 32"/>
                <a:gd name="T7" fmla="*/ 17 h 17"/>
                <a:gd name="T8" fmla="*/ 30 w 32"/>
                <a:gd name="T9" fmla="*/ 8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17">
                  <a:moveTo>
                    <a:pt x="30" y="8"/>
                  </a:moveTo>
                  <a:cubicBezTo>
                    <a:pt x="32" y="4"/>
                    <a:pt x="28" y="0"/>
                    <a:pt x="20" y="0"/>
                  </a:cubicBezTo>
                  <a:cubicBezTo>
                    <a:pt x="13" y="0"/>
                    <a:pt x="4" y="4"/>
                    <a:pt x="2" y="8"/>
                  </a:cubicBezTo>
                  <a:cubicBezTo>
                    <a:pt x="0" y="13"/>
                    <a:pt x="4" y="17"/>
                    <a:pt x="12" y="17"/>
                  </a:cubicBezTo>
                  <a:cubicBezTo>
                    <a:pt x="20" y="17"/>
                    <a:pt x="28" y="13"/>
                    <a:pt x="3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6" name="任意多边形: 形状 875">
              <a:extLst>
                <a:ext uri="{FF2B5EF4-FFF2-40B4-BE49-F238E27FC236}">
                  <a16:creationId xmlns:a16="http://schemas.microsoft.com/office/drawing/2014/main" id="{CD3D0514-2184-46E9-A7D4-07CC1DC54438}"/>
                </a:ext>
              </a:extLst>
            </p:cNvPr>
            <p:cNvSpPr/>
            <p:nvPr/>
          </p:nvSpPr>
          <p:spPr bwMode="auto">
            <a:xfrm>
              <a:off x="2569308" y="2031003"/>
              <a:ext cx="120350" cy="61718"/>
            </a:xfrm>
            <a:custGeom>
              <a:avLst/>
              <a:gdLst>
                <a:gd name="T0" fmla="*/ 31 w 33"/>
                <a:gd name="T1" fmla="*/ 9 h 17"/>
                <a:gd name="T2" fmla="*/ 21 w 33"/>
                <a:gd name="T3" fmla="*/ 0 h 17"/>
                <a:gd name="T4" fmla="*/ 2 w 33"/>
                <a:gd name="T5" fmla="*/ 9 h 17"/>
                <a:gd name="T6" fmla="*/ 12 w 33"/>
                <a:gd name="T7" fmla="*/ 17 h 17"/>
                <a:gd name="T8" fmla="*/ 31 w 33"/>
                <a:gd name="T9" fmla="*/ 9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17">
                  <a:moveTo>
                    <a:pt x="31" y="9"/>
                  </a:moveTo>
                  <a:cubicBezTo>
                    <a:pt x="33" y="4"/>
                    <a:pt x="29" y="0"/>
                    <a:pt x="21" y="0"/>
                  </a:cubicBezTo>
                  <a:cubicBezTo>
                    <a:pt x="13" y="0"/>
                    <a:pt x="5" y="4"/>
                    <a:pt x="2" y="9"/>
                  </a:cubicBezTo>
                  <a:cubicBezTo>
                    <a:pt x="0" y="13"/>
                    <a:pt x="5" y="17"/>
                    <a:pt x="12" y="17"/>
                  </a:cubicBezTo>
                  <a:cubicBezTo>
                    <a:pt x="20" y="17"/>
                    <a:pt x="29" y="13"/>
                    <a:pt x="31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7" name="任意多边形: 形状 876">
              <a:extLst>
                <a:ext uri="{FF2B5EF4-FFF2-40B4-BE49-F238E27FC236}">
                  <a16:creationId xmlns:a16="http://schemas.microsoft.com/office/drawing/2014/main" id="{53F831D3-DDE4-40B7-985D-D4ECB4FFE4AA}"/>
                </a:ext>
              </a:extLst>
            </p:cNvPr>
            <p:cNvSpPr/>
            <p:nvPr/>
          </p:nvSpPr>
          <p:spPr bwMode="auto">
            <a:xfrm>
              <a:off x="2529192" y="2108150"/>
              <a:ext cx="124979" cy="64804"/>
            </a:xfrm>
            <a:custGeom>
              <a:avLst/>
              <a:gdLst>
                <a:gd name="T0" fmla="*/ 32 w 34"/>
                <a:gd name="T1" fmla="*/ 9 h 18"/>
                <a:gd name="T2" fmla="*/ 22 w 34"/>
                <a:gd name="T3" fmla="*/ 0 h 18"/>
                <a:gd name="T4" fmla="*/ 3 w 34"/>
                <a:gd name="T5" fmla="*/ 9 h 18"/>
                <a:gd name="T6" fmla="*/ 13 w 34"/>
                <a:gd name="T7" fmla="*/ 18 h 18"/>
                <a:gd name="T8" fmla="*/ 32 w 34"/>
                <a:gd name="T9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8">
                  <a:moveTo>
                    <a:pt x="32" y="9"/>
                  </a:moveTo>
                  <a:cubicBezTo>
                    <a:pt x="34" y="4"/>
                    <a:pt x="29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8"/>
                    <a:pt x="13" y="18"/>
                  </a:cubicBezTo>
                  <a:cubicBezTo>
                    <a:pt x="21" y="18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8" name="任意多边形: 形状 877">
              <a:extLst>
                <a:ext uri="{FF2B5EF4-FFF2-40B4-BE49-F238E27FC236}">
                  <a16:creationId xmlns:a16="http://schemas.microsoft.com/office/drawing/2014/main" id="{39B448D9-F25D-4EB1-A422-9F1123EFBFDF}"/>
                </a:ext>
              </a:extLst>
            </p:cNvPr>
            <p:cNvSpPr/>
            <p:nvPr/>
          </p:nvSpPr>
          <p:spPr bwMode="auto">
            <a:xfrm>
              <a:off x="2489075" y="2188383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3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4"/>
                    <a:pt x="5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9" name="任意多边形: 形状 878">
              <a:extLst>
                <a:ext uri="{FF2B5EF4-FFF2-40B4-BE49-F238E27FC236}">
                  <a16:creationId xmlns:a16="http://schemas.microsoft.com/office/drawing/2014/main" id="{34E27B5E-55E8-47C5-864A-466B3270F7A0}"/>
                </a:ext>
              </a:extLst>
            </p:cNvPr>
            <p:cNvSpPr/>
            <p:nvPr/>
          </p:nvSpPr>
          <p:spPr bwMode="auto">
            <a:xfrm>
              <a:off x="2448958" y="2271702"/>
              <a:ext cx="124979" cy="69433"/>
            </a:xfrm>
            <a:custGeom>
              <a:avLst/>
              <a:gdLst>
                <a:gd name="T0" fmla="*/ 32 w 34"/>
                <a:gd name="T1" fmla="*/ 9 h 19"/>
                <a:gd name="T2" fmla="*/ 22 w 34"/>
                <a:gd name="T3" fmla="*/ 0 h 19"/>
                <a:gd name="T4" fmla="*/ 2 w 34"/>
                <a:gd name="T5" fmla="*/ 9 h 19"/>
                <a:gd name="T6" fmla="*/ 13 w 34"/>
                <a:gd name="T7" fmla="*/ 19 h 19"/>
                <a:gd name="T8" fmla="*/ 32 w 34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19">
                  <a:moveTo>
                    <a:pt x="32" y="9"/>
                  </a:moveTo>
                  <a:cubicBezTo>
                    <a:pt x="34" y="4"/>
                    <a:pt x="30" y="0"/>
                    <a:pt x="22" y="0"/>
                  </a:cubicBezTo>
                  <a:cubicBezTo>
                    <a:pt x="14" y="0"/>
                    <a:pt x="5" y="4"/>
                    <a:pt x="2" y="9"/>
                  </a:cubicBezTo>
                  <a:cubicBezTo>
                    <a:pt x="0" y="14"/>
                    <a:pt x="4" y="19"/>
                    <a:pt x="13" y="19"/>
                  </a:cubicBezTo>
                  <a:cubicBezTo>
                    <a:pt x="21" y="19"/>
                    <a:pt x="29" y="14"/>
                    <a:pt x="32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0" name="任意多边形: 形状 879">
              <a:extLst>
                <a:ext uri="{FF2B5EF4-FFF2-40B4-BE49-F238E27FC236}">
                  <a16:creationId xmlns:a16="http://schemas.microsoft.com/office/drawing/2014/main" id="{4DB5EFD0-C23C-4261-8BA4-E3C9EB02671D}"/>
                </a:ext>
              </a:extLst>
            </p:cNvPr>
            <p:cNvSpPr/>
            <p:nvPr/>
          </p:nvSpPr>
          <p:spPr bwMode="auto">
            <a:xfrm>
              <a:off x="2405756" y="2356565"/>
              <a:ext cx="128065" cy="69433"/>
            </a:xfrm>
            <a:custGeom>
              <a:avLst/>
              <a:gdLst>
                <a:gd name="T0" fmla="*/ 33 w 35"/>
                <a:gd name="T1" fmla="*/ 9 h 19"/>
                <a:gd name="T2" fmla="*/ 22 w 35"/>
                <a:gd name="T3" fmla="*/ 0 h 19"/>
                <a:gd name="T4" fmla="*/ 3 w 35"/>
                <a:gd name="T5" fmla="*/ 9 h 19"/>
                <a:gd name="T6" fmla="*/ 13 w 35"/>
                <a:gd name="T7" fmla="*/ 19 h 19"/>
                <a:gd name="T8" fmla="*/ 33 w 35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19">
                  <a:moveTo>
                    <a:pt x="33" y="9"/>
                  </a:moveTo>
                  <a:cubicBezTo>
                    <a:pt x="35" y="4"/>
                    <a:pt x="31" y="0"/>
                    <a:pt x="22" y="0"/>
                  </a:cubicBezTo>
                  <a:cubicBezTo>
                    <a:pt x="14" y="0"/>
                    <a:pt x="5" y="4"/>
                    <a:pt x="3" y="9"/>
                  </a:cubicBezTo>
                  <a:cubicBezTo>
                    <a:pt x="0" y="15"/>
                    <a:pt x="5" y="19"/>
                    <a:pt x="13" y="19"/>
                  </a:cubicBezTo>
                  <a:cubicBezTo>
                    <a:pt x="21" y="19"/>
                    <a:pt x="30" y="15"/>
                    <a:pt x="33" y="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1" name="任意多边形: 形状 880">
              <a:extLst>
                <a:ext uri="{FF2B5EF4-FFF2-40B4-BE49-F238E27FC236}">
                  <a16:creationId xmlns:a16="http://schemas.microsoft.com/office/drawing/2014/main" id="{FF81CE14-D3E3-4A83-BA96-3ADB59630A84}"/>
                </a:ext>
              </a:extLst>
            </p:cNvPr>
            <p:cNvSpPr/>
            <p:nvPr/>
          </p:nvSpPr>
          <p:spPr bwMode="auto">
            <a:xfrm>
              <a:off x="2361010" y="2439884"/>
              <a:ext cx="132693" cy="74061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5"/>
                    <a:pt x="31" y="0"/>
                    <a:pt x="23" y="0"/>
                  </a:cubicBezTo>
                  <a:cubicBezTo>
                    <a:pt x="15" y="0"/>
                    <a:pt x="6" y="5"/>
                    <a:pt x="3" y="10"/>
                  </a:cubicBezTo>
                  <a:cubicBezTo>
                    <a:pt x="0" y="16"/>
                    <a:pt x="5" y="20"/>
                    <a:pt x="13" y="20"/>
                  </a:cubicBezTo>
                  <a:cubicBezTo>
                    <a:pt x="22" y="20"/>
                    <a:pt x="31" y="16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2" name="任意多边形: 形状 881">
              <a:extLst>
                <a:ext uri="{FF2B5EF4-FFF2-40B4-BE49-F238E27FC236}">
                  <a16:creationId xmlns:a16="http://schemas.microsoft.com/office/drawing/2014/main" id="{69C8A61C-E5FF-4A0E-A178-33B490947247}"/>
                </a:ext>
              </a:extLst>
            </p:cNvPr>
            <p:cNvSpPr/>
            <p:nvPr/>
          </p:nvSpPr>
          <p:spPr bwMode="auto">
            <a:xfrm>
              <a:off x="2317807" y="2532461"/>
              <a:ext cx="131151" cy="72519"/>
            </a:xfrm>
            <a:custGeom>
              <a:avLst/>
              <a:gdLst>
                <a:gd name="T0" fmla="*/ 33 w 36"/>
                <a:gd name="T1" fmla="*/ 10 h 20"/>
                <a:gd name="T2" fmla="*/ 23 w 36"/>
                <a:gd name="T3" fmla="*/ 0 h 20"/>
                <a:gd name="T4" fmla="*/ 3 w 36"/>
                <a:gd name="T5" fmla="*/ 10 h 20"/>
                <a:gd name="T6" fmla="*/ 13 w 36"/>
                <a:gd name="T7" fmla="*/ 20 h 20"/>
                <a:gd name="T8" fmla="*/ 33 w 36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0">
                  <a:moveTo>
                    <a:pt x="33" y="10"/>
                  </a:moveTo>
                  <a:cubicBezTo>
                    <a:pt x="36" y="4"/>
                    <a:pt x="31" y="0"/>
                    <a:pt x="23" y="0"/>
                  </a:cubicBezTo>
                  <a:cubicBezTo>
                    <a:pt x="15" y="0"/>
                    <a:pt x="5" y="4"/>
                    <a:pt x="3" y="10"/>
                  </a:cubicBezTo>
                  <a:cubicBezTo>
                    <a:pt x="0" y="15"/>
                    <a:pt x="5" y="20"/>
                    <a:pt x="13" y="20"/>
                  </a:cubicBezTo>
                  <a:cubicBezTo>
                    <a:pt x="22" y="20"/>
                    <a:pt x="31" y="15"/>
                    <a:pt x="3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3" name="任意多边形: 形状 882">
              <a:extLst>
                <a:ext uri="{FF2B5EF4-FFF2-40B4-BE49-F238E27FC236}">
                  <a16:creationId xmlns:a16="http://schemas.microsoft.com/office/drawing/2014/main" id="{BBD5001D-BAD2-4BC1-8731-87DE8671FAE6}"/>
                </a:ext>
              </a:extLst>
            </p:cNvPr>
            <p:cNvSpPr/>
            <p:nvPr/>
          </p:nvSpPr>
          <p:spPr bwMode="auto">
            <a:xfrm>
              <a:off x="2269977" y="2623494"/>
              <a:ext cx="135779" cy="72519"/>
            </a:xfrm>
            <a:custGeom>
              <a:avLst/>
              <a:gdLst>
                <a:gd name="T0" fmla="*/ 34 w 37"/>
                <a:gd name="T1" fmla="*/ 10 h 20"/>
                <a:gd name="T2" fmla="*/ 24 w 37"/>
                <a:gd name="T3" fmla="*/ 0 h 20"/>
                <a:gd name="T4" fmla="*/ 3 w 37"/>
                <a:gd name="T5" fmla="*/ 10 h 20"/>
                <a:gd name="T6" fmla="*/ 14 w 37"/>
                <a:gd name="T7" fmla="*/ 20 h 20"/>
                <a:gd name="T8" fmla="*/ 34 w 37"/>
                <a:gd name="T9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0">
                  <a:moveTo>
                    <a:pt x="34" y="10"/>
                  </a:moveTo>
                  <a:cubicBezTo>
                    <a:pt x="37" y="4"/>
                    <a:pt x="32" y="0"/>
                    <a:pt x="24" y="0"/>
                  </a:cubicBezTo>
                  <a:cubicBezTo>
                    <a:pt x="15" y="0"/>
                    <a:pt x="6" y="4"/>
                    <a:pt x="3" y="10"/>
                  </a:cubicBezTo>
                  <a:cubicBezTo>
                    <a:pt x="0" y="16"/>
                    <a:pt x="5" y="20"/>
                    <a:pt x="14" y="20"/>
                  </a:cubicBezTo>
                  <a:cubicBezTo>
                    <a:pt x="22" y="20"/>
                    <a:pt x="32" y="16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4" name="任意多边形: 形状 883">
              <a:extLst>
                <a:ext uri="{FF2B5EF4-FFF2-40B4-BE49-F238E27FC236}">
                  <a16:creationId xmlns:a16="http://schemas.microsoft.com/office/drawing/2014/main" id="{26A3F3D5-982A-4797-AC3A-A6C1946B3464}"/>
                </a:ext>
              </a:extLst>
            </p:cNvPr>
            <p:cNvSpPr/>
            <p:nvPr/>
          </p:nvSpPr>
          <p:spPr bwMode="auto">
            <a:xfrm>
              <a:off x="2223688" y="2714528"/>
              <a:ext cx="137323" cy="80233"/>
            </a:xfrm>
            <a:custGeom>
              <a:avLst/>
              <a:gdLst>
                <a:gd name="T0" fmla="*/ 35 w 38"/>
                <a:gd name="T1" fmla="*/ 11 h 22"/>
                <a:gd name="T2" fmla="*/ 24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5" name="任意多边形: 形状 884">
              <a:extLst>
                <a:ext uri="{FF2B5EF4-FFF2-40B4-BE49-F238E27FC236}">
                  <a16:creationId xmlns:a16="http://schemas.microsoft.com/office/drawing/2014/main" id="{5F90E226-9F2D-4D05-AFAA-8C62A732C505}"/>
                </a:ext>
              </a:extLst>
            </p:cNvPr>
            <p:cNvSpPr/>
            <p:nvPr/>
          </p:nvSpPr>
          <p:spPr bwMode="auto">
            <a:xfrm>
              <a:off x="2175856" y="2810191"/>
              <a:ext cx="138865" cy="80233"/>
            </a:xfrm>
            <a:custGeom>
              <a:avLst/>
              <a:gdLst>
                <a:gd name="T0" fmla="*/ 35 w 38"/>
                <a:gd name="T1" fmla="*/ 11 h 22"/>
                <a:gd name="T2" fmla="*/ 25 w 38"/>
                <a:gd name="T3" fmla="*/ 0 h 22"/>
                <a:gd name="T4" fmla="*/ 3 w 38"/>
                <a:gd name="T5" fmla="*/ 11 h 22"/>
                <a:gd name="T6" fmla="*/ 14 w 38"/>
                <a:gd name="T7" fmla="*/ 22 h 22"/>
                <a:gd name="T8" fmla="*/ 35 w 38"/>
                <a:gd name="T9" fmla="*/ 1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2">
                  <a:moveTo>
                    <a:pt x="35" y="11"/>
                  </a:moveTo>
                  <a:cubicBezTo>
                    <a:pt x="38" y="5"/>
                    <a:pt x="33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7"/>
                    <a:pt x="5" y="22"/>
                    <a:pt x="14" y="22"/>
                  </a:cubicBezTo>
                  <a:cubicBezTo>
                    <a:pt x="23" y="22"/>
                    <a:pt x="32" y="17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6" name="任意多边形: 形状 885">
              <a:extLst>
                <a:ext uri="{FF2B5EF4-FFF2-40B4-BE49-F238E27FC236}">
                  <a16:creationId xmlns:a16="http://schemas.microsoft.com/office/drawing/2014/main" id="{1BB05E09-A04B-4CF9-B5D6-66A7C1F94D25}"/>
                </a:ext>
              </a:extLst>
            </p:cNvPr>
            <p:cNvSpPr/>
            <p:nvPr/>
          </p:nvSpPr>
          <p:spPr bwMode="auto">
            <a:xfrm>
              <a:off x="2124940" y="2907396"/>
              <a:ext cx="141951" cy="84863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4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7" name="任意多边形: 形状 886">
              <a:extLst>
                <a:ext uri="{FF2B5EF4-FFF2-40B4-BE49-F238E27FC236}">
                  <a16:creationId xmlns:a16="http://schemas.microsoft.com/office/drawing/2014/main" id="{2DC60181-AF1C-4D4C-806A-E3F5FB66E0EE}"/>
                </a:ext>
              </a:extLst>
            </p:cNvPr>
            <p:cNvSpPr/>
            <p:nvPr/>
          </p:nvSpPr>
          <p:spPr bwMode="auto">
            <a:xfrm>
              <a:off x="2074022" y="3010774"/>
              <a:ext cx="145037" cy="83319"/>
            </a:xfrm>
            <a:custGeom>
              <a:avLst/>
              <a:gdLst>
                <a:gd name="T0" fmla="*/ 37 w 40"/>
                <a:gd name="T1" fmla="*/ 11 h 23"/>
                <a:gd name="T2" fmla="*/ 26 w 40"/>
                <a:gd name="T3" fmla="*/ 0 h 23"/>
                <a:gd name="T4" fmla="*/ 4 w 40"/>
                <a:gd name="T5" fmla="*/ 11 h 23"/>
                <a:gd name="T6" fmla="*/ 14 w 40"/>
                <a:gd name="T7" fmla="*/ 23 h 23"/>
                <a:gd name="T8" fmla="*/ 37 w 40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3">
                  <a:moveTo>
                    <a:pt x="37" y="11"/>
                  </a:moveTo>
                  <a:cubicBezTo>
                    <a:pt x="40" y="5"/>
                    <a:pt x="35" y="0"/>
                    <a:pt x="26" y="0"/>
                  </a:cubicBezTo>
                  <a:cubicBezTo>
                    <a:pt x="17" y="0"/>
                    <a:pt x="7" y="5"/>
                    <a:pt x="4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7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8" name="任意多边形: 形状 887">
              <a:extLst>
                <a:ext uri="{FF2B5EF4-FFF2-40B4-BE49-F238E27FC236}">
                  <a16:creationId xmlns:a16="http://schemas.microsoft.com/office/drawing/2014/main" id="{BD60776F-0ABD-4A16-84F9-9B791AE0E199}"/>
                </a:ext>
              </a:extLst>
            </p:cNvPr>
            <p:cNvSpPr/>
            <p:nvPr/>
          </p:nvSpPr>
          <p:spPr bwMode="auto">
            <a:xfrm>
              <a:off x="2223688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9" name="任意多边形: 形状 888">
              <a:extLst>
                <a:ext uri="{FF2B5EF4-FFF2-40B4-BE49-F238E27FC236}">
                  <a16:creationId xmlns:a16="http://schemas.microsoft.com/office/drawing/2014/main" id="{3C0F5288-FE8C-4E0B-8429-77CDFE9D0D1C}"/>
                </a:ext>
              </a:extLst>
            </p:cNvPr>
            <p:cNvSpPr/>
            <p:nvPr/>
          </p:nvSpPr>
          <p:spPr bwMode="auto">
            <a:xfrm>
              <a:off x="2368725" y="3010774"/>
              <a:ext cx="141951" cy="83319"/>
            </a:xfrm>
            <a:custGeom>
              <a:avLst/>
              <a:gdLst>
                <a:gd name="T0" fmla="*/ 36 w 39"/>
                <a:gd name="T1" fmla="*/ 11 h 23"/>
                <a:gd name="T2" fmla="*/ 25 w 39"/>
                <a:gd name="T3" fmla="*/ 0 h 23"/>
                <a:gd name="T4" fmla="*/ 3 w 39"/>
                <a:gd name="T5" fmla="*/ 11 h 23"/>
                <a:gd name="T6" fmla="*/ 14 w 39"/>
                <a:gd name="T7" fmla="*/ 23 h 23"/>
                <a:gd name="T8" fmla="*/ 36 w 39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6" y="11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6" y="0"/>
                    <a:pt x="6" y="5"/>
                    <a:pt x="3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4" y="23"/>
                    <a:pt x="33" y="18"/>
                    <a:pt x="36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0" name="任意多边形: 形状 889">
              <a:extLst>
                <a:ext uri="{FF2B5EF4-FFF2-40B4-BE49-F238E27FC236}">
                  <a16:creationId xmlns:a16="http://schemas.microsoft.com/office/drawing/2014/main" id="{E2204F6A-FAF8-4ADF-8E6D-0D374D55CC84}"/>
                </a:ext>
              </a:extLst>
            </p:cNvPr>
            <p:cNvSpPr/>
            <p:nvPr/>
          </p:nvSpPr>
          <p:spPr bwMode="auto">
            <a:xfrm>
              <a:off x="2518390" y="3010774"/>
              <a:ext cx="138865" cy="83319"/>
            </a:xfrm>
            <a:custGeom>
              <a:avLst/>
              <a:gdLst>
                <a:gd name="T0" fmla="*/ 35 w 38"/>
                <a:gd name="T1" fmla="*/ 11 h 23"/>
                <a:gd name="T2" fmla="*/ 24 w 38"/>
                <a:gd name="T3" fmla="*/ 0 h 23"/>
                <a:gd name="T4" fmla="*/ 2 w 38"/>
                <a:gd name="T5" fmla="*/ 11 h 23"/>
                <a:gd name="T6" fmla="*/ 14 w 38"/>
                <a:gd name="T7" fmla="*/ 23 h 23"/>
                <a:gd name="T8" fmla="*/ 35 w 38"/>
                <a:gd name="T9" fmla="*/ 1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3">
                  <a:moveTo>
                    <a:pt x="35" y="11"/>
                  </a:moveTo>
                  <a:cubicBezTo>
                    <a:pt x="38" y="5"/>
                    <a:pt x="33" y="0"/>
                    <a:pt x="24" y="0"/>
                  </a:cubicBezTo>
                  <a:cubicBezTo>
                    <a:pt x="15" y="0"/>
                    <a:pt x="5" y="5"/>
                    <a:pt x="2" y="11"/>
                  </a:cubicBezTo>
                  <a:cubicBezTo>
                    <a:pt x="0" y="18"/>
                    <a:pt x="5" y="23"/>
                    <a:pt x="14" y="23"/>
                  </a:cubicBezTo>
                  <a:cubicBezTo>
                    <a:pt x="23" y="23"/>
                    <a:pt x="33" y="18"/>
                    <a:pt x="35" y="1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1" name="任意多边形: 形状 890">
              <a:extLst>
                <a:ext uri="{FF2B5EF4-FFF2-40B4-BE49-F238E27FC236}">
                  <a16:creationId xmlns:a16="http://schemas.microsoft.com/office/drawing/2014/main" id="{61521EEF-112C-424C-B5CD-99BD96004CE3}"/>
                </a:ext>
              </a:extLst>
            </p:cNvPr>
            <p:cNvSpPr/>
            <p:nvPr/>
          </p:nvSpPr>
          <p:spPr bwMode="auto">
            <a:xfrm>
              <a:off x="2320893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6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2" name="任意多边形: 形状 891">
              <a:extLst>
                <a:ext uri="{FF2B5EF4-FFF2-40B4-BE49-F238E27FC236}">
                  <a16:creationId xmlns:a16="http://schemas.microsoft.com/office/drawing/2014/main" id="{E440B459-2086-4A9E-AF36-B9B8370C71CA}"/>
                </a:ext>
              </a:extLst>
            </p:cNvPr>
            <p:cNvSpPr/>
            <p:nvPr/>
          </p:nvSpPr>
          <p:spPr bwMode="auto">
            <a:xfrm>
              <a:off x="2470560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5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4" y="0"/>
                    <a:pt x="25" y="0"/>
                  </a:cubicBezTo>
                  <a:cubicBezTo>
                    <a:pt x="15" y="0"/>
                    <a:pt x="6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3" name="任意多边形: 形状 892">
              <a:extLst>
                <a:ext uri="{FF2B5EF4-FFF2-40B4-BE49-F238E27FC236}">
                  <a16:creationId xmlns:a16="http://schemas.microsoft.com/office/drawing/2014/main" id="{ECFEB8A1-3FDA-46EC-822B-ABB8D2D07BB2}"/>
                </a:ext>
              </a:extLst>
            </p:cNvPr>
            <p:cNvSpPr/>
            <p:nvPr/>
          </p:nvSpPr>
          <p:spPr bwMode="auto">
            <a:xfrm>
              <a:off x="2620225" y="3112609"/>
              <a:ext cx="143495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4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6"/>
                    <a:pt x="33" y="0"/>
                    <a:pt x="24" y="0"/>
                  </a:cubicBezTo>
                  <a:cubicBezTo>
                    <a:pt x="15" y="0"/>
                    <a:pt x="5" y="6"/>
                    <a:pt x="3" y="12"/>
                  </a:cubicBezTo>
                  <a:cubicBezTo>
                    <a:pt x="0" y="19"/>
                    <a:pt x="5" y="24"/>
                    <a:pt x="14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4" name="任意多边形: 形状 893">
              <a:extLst>
                <a:ext uri="{FF2B5EF4-FFF2-40B4-BE49-F238E27FC236}">
                  <a16:creationId xmlns:a16="http://schemas.microsoft.com/office/drawing/2014/main" id="{AAC7E889-B6A1-4E09-AC1A-4EDE9D3F0DCE}"/>
                </a:ext>
              </a:extLst>
            </p:cNvPr>
            <p:cNvSpPr/>
            <p:nvPr/>
          </p:nvSpPr>
          <p:spPr bwMode="auto">
            <a:xfrm>
              <a:off x="2573936" y="3222157"/>
              <a:ext cx="145037" cy="87948"/>
            </a:xfrm>
            <a:custGeom>
              <a:avLst/>
              <a:gdLst>
                <a:gd name="T0" fmla="*/ 37 w 40"/>
                <a:gd name="T1" fmla="*/ 12 h 24"/>
                <a:gd name="T2" fmla="*/ 25 w 40"/>
                <a:gd name="T3" fmla="*/ 0 h 24"/>
                <a:gd name="T4" fmla="*/ 3 w 40"/>
                <a:gd name="T5" fmla="*/ 12 h 24"/>
                <a:gd name="T6" fmla="*/ 15 w 40"/>
                <a:gd name="T7" fmla="*/ 24 h 24"/>
                <a:gd name="T8" fmla="*/ 37 w 40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4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6" y="0"/>
                    <a:pt x="6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5" name="任意多边形: 形状 894">
              <a:extLst>
                <a:ext uri="{FF2B5EF4-FFF2-40B4-BE49-F238E27FC236}">
                  <a16:creationId xmlns:a16="http://schemas.microsoft.com/office/drawing/2014/main" id="{1CE429B8-4067-4D97-A831-82971D6ED52E}"/>
                </a:ext>
              </a:extLst>
            </p:cNvPr>
            <p:cNvSpPr/>
            <p:nvPr/>
          </p:nvSpPr>
          <p:spPr bwMode="auto">
            <a:xfrm>
              <a:off x="3029106" y="3222157"/>
              <a:ext cx="141951" cy="87948"/>
            </a:xfrm>
            <a:custGeom>
              <a:avLst/>
              <a:gdLst>
                <a:gd name="T0" fmla="*/ 36 w 39"/>
                <a:gd name="T1" fmla="*/ 12 h 24"/>
                <a:gd name="T2" fmla="*/ 24 w 39"/>
                <a:gd name="T3" fmla="*/ 0 h 24"/>
                <a:gd name="T4" fmla="*/ 3 w 39"/>
                <a:gd name="T5" fmla="*/ 12 h 24"/>
                <a:gd name="T6" fmla="*/ 15 w 39"/>
                <a:gd name="T7" fmla="*/ 24 h 24"/>
                <a:gd name="T8" fmla="*/ 36 w 39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4">
                  <a:moveTo>
                    <a:pt x="36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4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6" name="任意多边形: 形状 895">
              <a:extLst>
                <a:ext uri="{FF2B5EF4-FFF2-40B4-BE49-F238E27FC236}">
                  <a16:creationId xmlns:a16="http://schemas.microsoft.com/office/drawing/2014/main" id="{D0AA52F4-4363-4C7B-AD2B-ABEBD801BA9D}"/>
                </a:ext>
              </a:extLst>
            </p:cNvPr>
            <p:cNvSpPr/>
            <p:nvPr/>
          </p:nvSpPr>
          <p:spPr bwMode="auto">
            <a:xfrm>
              <a:off x="3183401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5" y="24"/>
                    <a:pt x="15" y="24"/>
                  </a:cubicBezTo>
                  <a:cubicBezTo>
                    <a:pt x="24" y="24"/>
                    <a:pt x="33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7" name="任意多边形: 形状 896">
              <a:extLst>
                <a:ext uri="{FF2B5EF4-FFF2-40B4-BE49-F238E27FC236}">
                  <a16:creationId xmlns:a16="http://schemas.microsoft.com/office/drawing/2014/main" id="{200235AA-F0B9-4489-A512-68C787D2E031}"/>
                </a:ext>
              </a:extLst>
            </p:cNvPr>
            <p:cNvSpPr/>
            <p:nvPr/>
          </p:nvSpPr>
          <p:spPr bwMode="auto">
            <a:xfrm>
              <a:off x="3333066" y="3222157"/>
              <a:ext cx="137323" cy="87948"/>
            </a:xfrm>
            <a:custGeom>
              <a:avLst/>
              <a:gdLst>
                <a:gd name="T0" fmla="*/ 36 w 38"/>
                <a:gd name="T1" fmla="*/ 12 h 24"/>
                <a:gd name="T2" fmla="*/ 23 w 38"/>
                <a:gd name="T3" fmla="*/ 0 h 24"/>
                <a:gd name="T4" fmla="*/ 2 w 38"/>
                <a:gd name="T5" fmla="*/ 12 h 24"/>
                <a:gd name="T6" fmla="*/ 15 w 38"/>
                <a:gd name="T7" fmla="*/ 24 h 24"/>
                <a:gd name="T8" fmla="*/ 36 w 38"/>
                <a:gd name="T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4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19"/>
                    <a:pt x="6" y="24"/>
                    <a:pt x="15" y="24"/>
                  </a:cubicBezTo>
                  <a:cubicBezTo>
                    <a:pt x="25" y="24"/>
                    <a:pt x="34" y="19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8" name="任意多边形: 形状 897">
              <a:extLst>
                <a:ext uri="{FF2B5EF4-FFF2-40B4-BE49-F238E27FC236}">
                  <a16:creationId xmlns:a16="http://schemas.microsoft.com/office/drawing/2014/main" id="{30ED7375-A27F-475B-9386-712305E3BEB4}"/>
                </a:ext>
              </a:extLst>
            </p:cNvPr>
            <p:cNvSpPr/>
            <p:nvPr/>
          </p:nvSpPr>
          <p:spPr bwMode="auto">
            <a:xfrm>
              <a:off x="2683486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5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9" name="任意多边形: 形状 898">
              <a:extLst>
                <a:ext uri="{FF2B5EF4-FFF2-40B4-BE49-F238E27FC236}">
                  <a16:creationId xmlns:a16="http://schemas.microsoft.com/office/drawing/2014/main" id="{4E893263-9536-4E69-A547-C8B3E4132A7E}"/>
                </a:ext>
              </a:extLst>
            </p:cNvPr>
            <p:cNvSpPr/>
            <p:nvPr/>
          </p:nvSpPr>
          <p:spPr bwMode="auto">
            <a:xfrm>
              <a:off x="2836237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5" y="25"/>
                    <a:pt x="15" y="25"/>
                  </a:cubicBezTo>
                  <a:cubicBezTo>
                    <a:pt x="24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0" name="任意多边形: 形状 899">
              <a:extLst>
                <a:ext uri="{FF2B5EF4-FFF2-40B4-BE49-F238E27FC236}">
                  <a16:creationId xmlns:a16="http://schemas.microsoft.com/office/drawing/2014/main" id="{A3F012FF-372D-494B-876B-795B57BD4F54}"/>
                </a:ext>
              </a:extLst>
            </p:cNvPr>
            <p:cNvSpPr/>
            <p:nvPr/>
          </p:nvSpPr>
          <p:spPr bwMode="auto">
            <a:xfrm>
              <a:off x="2988990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4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1" name="任意多边形: 形状 900">
              <a:extLst>
                <a:ext uri="{FF2B5EF4-FFF2-40B4-BE49-F238E27FC236}">
                  <a16:creationId xmlns:a16="http://schemas.microsoft.com/office/drawing/2014/main" id="{D79A01CA-F6B8-4644-924C-31BC167E7E40}"/>
                </a:ext>
              </a:extLst>
            </p:cNvPr>
            <p:cNvSpPr/>
            <p:nvPr/>
          </p:nvSpPr>
          <p:spPr bwMode="auto">
            <a:xfrm>
              <a:off x="3143284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5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5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2" name="任意多边形: 形状 901">
              <a:extLst>
                <a:ext uri="{FF2B5EF4-FFF2-40B4-BE49-F238E27FC236}">
                  <a16:creationId xmlns:a16="http://schemas.microsoft.com/office/drawing/2014/main" id="{722D0859-69F1-40AD-98E4-B8625A0774DD}"/>
                </a:ext>
              </a:extLst>
            </p:cNvPr>
            <p:cNvSpPr/>
            <p:nvPr/>
          </p:nvSpPr>
          <p:spPr bwMode="auto">
            <a:xfrm>
              <a:off x="3296035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4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3" name="任意多边形: 形状 902">
              <a:extLst>
                <a:ext uri="{FF2B5EF4-FFF2-40B4-BE49-F238E27FC236}">
                  <a16:creationId xmlns:a16="http://schemas.microsoft.com/office/drawing/2014/main" id="{C18AD60A-C17B-4383-8940-6FDC3324DC8D}"/>
                </a:ext>
              </a:extLst>
            </p:cNvPr>
            <p:cNvSpPr/>
            <p:nvPr/>
          </p:nvSpPr>
          <p:spPr bwMode="auto">
            <a:xfrm>
              <a:off x="3448788" y="3331707"/>
              <a:ext cx="141951" cy="91034"/>
            </a:xfrm>
            <a:custGeom>
              <a:avLst/>
              <a:gdLst>
                <a:gd name="T0" fmla="*/ 37 w 39"/>
                <a:gd name="T1" fmla="*/ 12 h 25"/>
                <a:gd name="T2" fmla="*/ 23 w 39"/>
                <a:gd name="T3" fmla="*/ 0 h 25"/>
                <a:gd name="T4" fmla="*/ 3 w 39"/>
                <a:gd name="T5" fmla="*/ 12 h 25"/>
                <a:gd name="T6" fmla="*/ 16 w 39"/>
                <a:gd name="T7" fmla="*/ 25 h 25"/>
                <a:gd name="T8" fmla="*/ 37 w 39"/>
                <a:gd name="T9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5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5" y="5"/>
                    <a:pt x="3" y="12"/>
                  </a:cubicBezTo>
                  <a:cubicBezTo>
                    <a:pt x="0" y="19"/>
                    <a:pt x="6" y="25"/>
                    <a:pt x="16" y="25"/>
                  </a:cubicBezTo>
                  <a:cubicBezTo>
                    <a:pt x="25" y="25"/>
                    <a:pt x="35" y="19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4" name="任意多边形: 形状 903">
              <a:extLst>
                <a:ext uri="{FF2B5EF4-FFF2-40B4-BE49-F238E27FC236}">
                  <a16:creationId xmlns:a16="http://schemas.microsoft.com/office/drawing/2014/main" id="{84F7048F-3CE3-4415-AB7B-53843A8F4999}"/>
                </a:ext>
              </a:extLst>
            </p:cNvPr>
            <p:cNvSpPr/>
            <p:nvPr/>
          </p:nvSpPr>
          <p:spPr bwMode="auto">
            <a:xfrm>
              <a:off x="2793035" y="3445885"/>
              <a:ext cx="145037" cy="94120"/>
            </a:xfrm>
            <a:custGeom>
              <a:avLst/>
              <a:gdLst>
                <a:gd name="T0" fmla="*/ 37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5 w 40"/>
                <a:gd name="T7" fmla="*/ 26 h 26"/>
                <a:gd name="T8" fmla="*/ 37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7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5" name="任意多边形: 形状 904">
              <a:extLst>
                <a:ext uri="{FF2B5EF4-FFF2-40B4-BE49-F238E27FC236}">
                  <a16:creationId xmlns:a16="http://schemas.microsoft.com/office/drawing/2014/main" id="{947802A7-61B4-4D52-9BF1-8AEA80DD2497}"/>
                </a:ext>
              </a:extLst>
            </p:cNvPr>
            <p:cNvSpPr/>
            <p:nvPr/>
          </p:nvSpPr>
          <p:spPr bwMode="auto">
            <a:xfrm>
              <a:off x="2948873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5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4" y="0"/>
                    <a:pt x="24" y="0"/>
                  </a:cubicBezTo>
                  <a:cubicBezTo>
                    <a:pt x="15" y="0"/>
                    <a:pt x="5" y="5"/>
                    <a:pt x="2" y="12"/>
                  </a:cubicBezTo>
                  <a:cubicBezTo>
                    <a:pt x="0" y="20"/>
                    <a:pt x="5" y="26"/>
                    <a:pt x="15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6" name="任意多边形: 形状 905">
              <a:extLst>
                <a:ext uri="{FF2B5EF4-FFF2-40B4-BE49-F238E27FC236}">
                  <a16:creationId xmlns:a16="http://schemas.microsoft.com/office/drawing/2014/main" id="{1AB4A3A1-1DD0-4CC9-8586-5E7885640305}"/>
                </a:ext>
              </a:extLst>
            </p:cNvPr>
            <p:cNvSpPr/>
            <p:nvPr/>
          </p:nvSpPr>
          <p:spPr bwMode="auto">
            <a:xfrm>
              <a:off x="3103168" y="3445885"/>
              <a:ext cx="145037" cy="94120"/>
            </a:xfrm>
            <a:custGeom>
              <a:avLst/>
              <a:gdLst>
                <a:gd name="T0" fmla="*/ 38 w 40"/>
                <a:gd name="T1" fmla="*/ 12 h 26"/>
                <a:gd name="T2" fmla="*/ 25 w 40"/>
                <a:gd name="T3" fmla="*/ 0 h 26"/>
                <a:gd name="T4" fmla="*/ 3 w 40"/>
                <a:gd name="T5" fmla="*/ 12 h 26"/>
                <a:gd name="T6" fmla="*/ 16 w 40"/>
                <a:gd name="T7" fmla="*/ 26 h 26"/>
                <a:gd name="T8" fmla="*/ 38 w 40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6">
                  <a:moveTo>
                    <a:pt x="38" y="12"/>
                  </a:moveTo>
                  <a:cubicBezTo>
                    <a:pt x="40" y="5"/>
                    <a:pt x="34" y="0"/>
                    <a:pt x="25" y="0"/>
                  </a:cubicBezTo>
                  <a:cubicBezTo>
                    <a:pt x="15" y="0"/>
                    <a:pt x="5" y="5"/>
                    <a:pt x="3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6" y="26"/>
                    <a:pt x="35" y="20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7" name="任意多边形: 形状 906">
              <a:extLst>
                <a:ext uri="{FF2B5EF4-FFF2-40B4-BE49-F238E27FC236}">
                  <a16:creationId xmlns:a16="http://schemas.microsoft.com/office/drawing/2014/main" id="{5DBF1D91-ADD2-43E6-97E7-5BB8C36FDA9B}"/>
                </a:ext>
              </a:extLst>
            </p:cNvPr>
            <p:cNvSpPr/>
            <p:nvPr/>
          </p:nvSpPr>
          <p:spPr bwMode="auto">
            <a:xfrm>
              <a:off x="325900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4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4" y="0"/>
                  </a:cubicBezTo>
                  <a:cubicBezTo>
                    <a:pt x="14" y="0"/>
                    <a:pt x="5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8" name="任意多边形: 形状 907">
              <a:extLst>
                <a:ext uri="{FF2B5EF4-FFF2-40B4-BE49-F238E27FC236}">
                  <a16:creationId xmlns:a16="http://schemas.microsoft.com/office/drawing/2014/main" id="{67676D1D-8A3D-4054-9F4E-5FDA7571D588}"/>
                </a:ext>
              </a:extLst>
            </p:cNvPr>
            <p:cNvSpPr/>
            <p:nvPr/>
          </p:nvSpPr>
          <p:spPr bwMode="auto">
            <a:xfrm>
              <a:off x="3416385" y="3445885"/>
              <a:ext cx="141951" cy="94120"/>
            </a:xfrm>
            <a:custGeom>
              <a:avLst/>
              <a:gdLst>
                <a:gd name="T0" fmla="*/ 37 w 39"/>
                <a:gd name="T1" fmla="*/ 12 h 26"/>
                <a:gd name="T2" fmla="*/ 23 w 39"/>
                <a:gd name="T3" fmla="*/ 0 h 26"/>
                <a:gd name="T4" fmla="*/ 2 w 39"/>
                <a:gd name="T5" fmla="*/ 12 h 26"/>
                <a:gd name="T6" fmla="*/ 16 w 39"/>
                <a:gd name="T7" fmla="*/ 26 h 26"/>
                <a:gd name="T8" fmla="*/ 37 w 39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6">
                  <a:moveTo>
                    <a:pt x="37" y="12"/>
                  </a:moveTo>
                  <a:cubicBezTo>
                    <a:pt x="39" y="5"/>
                    <a:pt x="33" y="0"/>
                    <a:pt x="23" y="0"/>
                  </a:cubicBezTo>
                  <a:cubicBezTo>
                    <a:pt x="14" y="0"/>
                    <a:pt x="4" y="5"/>
                    <a:pt x="2" y="12"/>
                  </a:cubicBezTo>
                  <a:cubicBezTo>
                    <a:pt x="0" y="20"/>
                    <a:pt x="6" y="26"/>
                    <a:pt x="16" y="26"/>
                  </a:cubicBezTo>
                  <a:cubicBezTo>
                    <a:pt x="25" y="26"/>
                    <a:pt x="35" y="20"/>
                    <a:pt x="37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9" name="任意多边形: 形状 908">
              <a:extLst>
                <a:ext uri="{FF2B5EF4-FFF2-40B4-BE49-F238E27FC236}">
                  <a16:creationId xmlns:a16="http://schemas.microsoft.com/office/drawing/2014/main" id="{70F2955E-175D-49CA-80A3-9658FFCBF3E7}"/>
                </a:ext>
              </a:extLst>
            </p:cNvPr>
            <p:cNvSpPr/>
            <p:nvPr/>
          </p:nvSpPr>
          <p:spPr bwMode="auto">
            <a:xfrm>
              <a:off x="3573766" y="3445885"/>
              <a:ext cx="137323" cy="94120"/>
            </a:xfrm>
            <a:custGeom>
              <a:avLst/>
              <a:gdLst>
                <a:gd name="T0" fmla="*/ 36 w 38"/>
                <a:gd name="T1" fmla="*/ 12 h 26"/>
                <a:gd name="T2" fmla="*/ 23 w 38"/>
                <a:gd name="T3" fmla="*/ 0 h 26"/>
                <a:gd name="T4" fmla="*/ 2 w 38"/>
                <a:gd name="T5" fmla="*/ 12 h 26"/>
                <a:gd name="T6" fmla="*/ 15 w 38"/>
                <a:gd name="T7" fmla="*/ 26 h 26"/>
                <a:gd name="T8" fmla="*/ 36 w 38"/>
                <a:gd name="T9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6">
                  <a:moveTo>
                    <a:pt x="36" y="12"/>
                  </a:moveTo>
                  <a:cubicBezTo>
                    <a:pt x="38" y="5"/>
                    <a:pt x="32" y="0"/>
                    <a:pt x="23" y="0"/>
                  </a:cubicBezTo>
                  <a:cubicBezTo>
                    <a:pt x="13" y="0"/>
                    <a:pt x="4" y="5"/>
                    <a:pt x="2" y="12"/>
                  </a:cubicBezTo>
                  <a:cubicBezTo>
                    <a:pt x="0" y="20"/>
                    <a:pt x="6" y="26"/>
                    <a:pt x="15" y="26"/>
                  </a:cubicBezTo>
                  <a:cubicBezTo>
                    <a:pt x="25" y="26"/>
                    <a:pt x="35" y="20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0" name="任意多边形: 形状 909">
              <a:extLst>
                <a:ext uri="{FF2B5EF4-FFF2-40B4-BE49-F238E27FC236}">
                  <a16:creationId xmlns:a16="http://schemas.microsoft.com/office/drawing/2014/main" id="{7AFEB5E9-7D42-47B3-BEB4-AA2491587A53}"/>
                </a:ext>
              </a:extLst>
            </p:cNvPr>
            <p:cNvSpPr/>
            <p:nvPr/>
          </p:nvSpPr>
          <p:spPr bwMode="auto">
            <a:xfrm>
              <a:off x="2587823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6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1" name="任意多边形: 形状 910">
              <a:extLst>
                <a:ext uri="{FF2B5EF4-FFF2-40B4-BE49-F238E27FC236}">
                  <a16:creationId xmlns:a16="http://schemas.microsoft.com/office/drawing/2014/main" id="{E85D57C6-BB0A-4B40-A297-3C6C1387D45F}"/>
                </a:ext>
              </a:extLst>
            </p:cNvPr>
            <p:cNvSpPr/>
            <p:nvPr/>
          </p:nvSpPr>
          <p:spPr bwMode="auto">
            <a:xfrm>
              <a:off x="2748290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1"/>
                    <a:pt x="5" y="27"/>
                    <a:pt x="15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2" name="任意多边形: 形状 911">
              <a:extLst>
                <a:ext uri="{FF2B5EF4-FFF2-40B4-BE49-F238E27FC236}">
                  <a16:creationId xmlns:a16="http://schemas.microsoft.com/office/drawing/2014/main" id="{36C92B45-C7D5-4BF1-813B-334D8FAD9D65}"/>
                </a:ext>
              </a:extLst>
            </p:cNvPr>
            <p:cNvSpPr/>
            <p:nvPr/>
          </p:nvSpPr>
          <p:spPr bwMode="auto">
            <a:xfrm>
              <a:off x="2905670" y="3558520"/>
              <a:ext cx="145037" cy="98749"/>
            </a:xfrm>
            <a:custGeom>
              <a:avLst/>
              <a:gdLst>
                <a:gd name="T0" fmla="*/ 38 w 40"/>
                <a:gd name="T1" fmla="*/ 14 h 27"/>
                <a:gd name="T2" fmla="*/ 25 w 40"/>
                <a:gd name="T3" fmla="*/ 0 h 27"/>
                <a:gd name="T4" fmla="*/ 3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5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3" name="任意多边形: 形状 912">
              <a:extLst>
                <a:ext uri="{FF2B5EF4-FFF2-40B4-BE49-F238E27FC236}">
                  <a16:creationId xmlns:a16="http://schemas.microsoft.com/office/drawing/2014/main" id="{85235DFA-CA3F-489E-AF7F-4192FE7AFBA9}"/>
                </a:ext>
              </a:extLst>
            </p:cNvPr>
            <p:cNvSpPr/>
            <p:nvPr/>
          </p:nvSpPr>
          <p:spPr bwMode="auto">
            <a:xfrm>
              <a:off x="3063051" y="3558520"/>
              <a:ext cx="149666" cy="98749"/>
            </a:xfrm>
            <a:custGeom>
              <a:avLst/>
              <a:gdLst>
                <a:gd name="T0" fmla="*/ 38 w 41"/>
                <a:gd name="T1" fmla="*/ 14 h 27"/>
                <a:gd name="T2" fmla="*/ 25 w 41"/>
                <a:gd name="T3" fmla="*/ 0 h 27"/>
                <a:gd name="T4" fmla="*/ 3 w 41"/>
                <a:gd name="T5" fmla="*/ 14 h 27"/>
                <a:gd name="T6" fmla="*/ 16 w 41"/>
                <a:gd name="T7" fmla="*/ 27 h 27"/>
                <a:gd name="T8" fmla="*/ 38 w 41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7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4" name="任意多边形: 形状 913">
              <a:extLst>
                <a:ext uri="{FF2B5EF4-FFF2-40B4-BE49-F238E27FC236}">
                  <a16:creationId xmlns:a16="http://schemas.microsoft.com/office/drawing/2014/main" id="{95AC93E7-7EB2-40D7-A079-1F15012A5AA8}"/>
                </a:ext>
              </a:extLst>
            </p:cNvPr>
            <p:cNvSpPr/>
            <p:nvPr/>
          </p:nvSpPr>
          <p:spPr bwMode="auto">
            <a:xfrm>
              <a:off x="3223517" y="3558520"/>
              <a:ext cx="145037" cy="98749"/>
            </a:xfrm>
            <a:custGeom>
              <a:avLst/>
              <a:gdLst>
                <a:gd name="T0" fmla="*/ 37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5 w 40"/>
                <a:gd name="T7" fmla="*/ 27 h 27"/>
                <a:gd name="T8" fmla="*/ 37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7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1"/>
                    <a:pt x="6" y="27"/>
                    <a:pt x="15" y="27"/>
                  </a:cubicBezTo>
                  <a:cubicBezTo>
                    <a:pt x="25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5" name="任意多边形: 形状 914">
              <a:extLst>
                <a:ext uri="{FF2B5EF4-FFF2-40B4-BE49-F238E27FC236}">
                  <a16:creationId xmlns:a16="http://schemas.microsoft.com/office/drawing/2014/main" id="{52F040AC-09B3-420D-8ED0-F1C245B17BD4}"/>
                </a:ext>
              </a:extLst>
            </p:cNvPr>
            <p:cNvSpPr/>
            <p:nvPr/>
          </p:nvSpPr>
          <p:spPr bwMode="auto">
            <a:xfrm>
              <a:off x="337935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2 w 40"/>
                <a:gd name="T5" fmla="*/ 14 h 27"/>
                <a:gd name="T6" fmla="*/ 16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6" name="任意多边形: 形状 915">
              <a:extLst>
                <a:ext uri="{FF2B5EF4-FFF2-40B4-BE49-F238E27FC236}">
                  <a16:creationId xmlns:a16="http://schemas.microsoft.com/office/drawing/2014/main" id="{9A7E83ED-DA1F-470A-91A1-1D4392E952F4}"/>
                </a:ext>
              </a:extLst>
            </p:cNvPr>
            <p:cNvSpPr/>
            <p:nvPr/>
          </p:nvSpPr>
          <p:spPr bwMode="auto">
            <a:xfrm>
              <a:off x="3536735" y="3558520"/>
              <a:ext cx="146580" cy="98749"/>
            </a:xfrm>
            <a:custGeom>
              <a:avLst/>
              <a:gdLst>
                <a:gd name="T0" fmla="*/ 38 w 40"/>
                <a:gd name="T1" fmla="*/ 14 h 27"/>
                <a:gd name="T2" fmla="*/ 24 w 40"/>
                <a:gd name="T3" fmla="*/ 0 h 27"/>
                <a:gd name="T4" fmla="*/ 3 w 40"/>
                <a:gd name="T5" fmla="*/ 14 h 27"/>
                <a:gd name="T6" fmla="*/ 17 w 40"/>
                <a:gd name="T7" fmla="*/ 27 h 27"/>
                <a:gd name="T8" fmla="*/ 38 w 40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7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3" y="14"/>
                  </a:cubicBezTo>
                  <a:cubicBezTo>
                    <a:pt x="0" y="21"/>
                    <a:pt x="7" y="27"/>
                    <a:pt x="17" y="27"/>
                  </a:cubicBezTo>
                  <a:cubicBezTo>
                    <a:pt x="26" y="27"/>
                    <a:pt x="36" y="21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7" name="任意多边形: 形状 916">
              <a:extLst>
                <a:ext uri="{FF2B5EF4-FFF2-40B4-BE49-F238E27FC236}">
                  <a16:creationId xmlns:a16="http://schemas.microsoft.com/office/drawing/2014/main" id="{4D1B7AD0-E396-45AB-BD15-9EB3921F5CE8}"/>
                </a:ext>
              </a:extLst>
            </p:cNvPr>
            <p:cNvSpPr/>
            <p:nvPr/>
          </p:nvSpPr>
          <p:spPr bwMode="auto">
            <a:xfrm>
              <a:off x="3697202" y="3558520"/>
              <a:ext cx="141951" cy="98749"/>
            </a:xfrm>
            <a:custGeom>
              <a:avLst/>
              <a:gdLst>
                <a:gd name="T0" fmla="*/ 37 w 39"/>
                <a:gd name="T1" fmla="*/ 14 h 27"/>
                <a:gd name="T2" fmla="*/ 23 w 39"/>
                <a:gd name="T3" fmla="*/ 0 h 27"/>
                <a:gd name="T4" fmla="*/ 2 w 39"/>
                <a:gd name="T5" fmla="*/ 14 h 27"/>
                <a:gd name="T6" fmla="*/ 16 w 39"/>
                <a:gd name="T7" fmla="*/ 27 h 27"/>
                <a:gd name="T8" fmla="*/ 37 w 39"/>
                <a:gd name="T9" fmla="*/ 14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7">
                  <a:moveTo>
                    <a:pt x="37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1"/>
                    <a:pt x="6" y="27"/>
                    <a:pt x="16" y="27"/>
                  </a:cubicBezTo>
                  <a:cubicBezTo>
                    <a:pt x="26" y="27"/>
                    <a:pt x="35" y="21"/>
                    <a:pt x="3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8" name="任意多边形: 形状 917">
              <a:extLst>
                <a:ext uri="{FF2B5EF4-FFF2-40B4-BE49-F238E27FC236}">
                  <a16:creationId xmlns:a16="http://schemas.microsoft.com/office/drawing/2014/main" id="{5B830F9C-6130-4E5F-959C-53FFC40D1919}"/>
                </a:ext>
              </a:extLst>
            </p:cNvPr>
            <p:cNvSpPr/>
            <p:nvPr/>
          </p:nvSpPr>
          <p:spPr bwMode="auto">
            <a:xfrm>
              <a:off x="2539992" y="3678869"/>
              <a:ext cx="154295" cy="103378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5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9" name="任意多边形: 形状 918">
              <a:extLst>
                <a:ext uri="{FF2B5EF4-FFF2-40B4-BE49-F238E27FC236}">
                  <a16:creationId xmlns:a16="http://schemas.microsoft.com/office/drawing/2014/main" id="{C5AC70C3-8C54-4C00-9686-B357C2D913F0}"/>
                </a:ext>
              </a:extLst>
            </p:cNvPr>
            <p:cNvSpPr/>
            <p:nvPr/>
          </p:nvSpPr>
          <p:spPr bwMode="auto">
            <a:xfrm>
              <a:off x="2700458" y="3678869"/>
              <a:ext cx="149666" cy="103378"/>
            </a:xfrm>
            <a:custGeom>
              <a:avLst/>
              <a:gdLst>
                <a:gd name="T0" fmla="*/ 39 w 41"/>
                <a:gd name="T1" fmla="*/ 14 h 28"/>
                <a:gd name="T2" fmla="*/ 26 w 41"/>
                <a:gd name="T3" fmla="*/ 0 h 28"/>
                <a:gd name="T4" fmla="*/ 3 w 41"/>
                <a:gd name="T5" fmla="*/ 14 h 28"/>
                <a:gd name="T6" fmla="*/ 15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5" y="28"/>
                  </a:cubicBezTo>
                  <a:cubicBezTo>
                    <a:pt x="25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0" name="任意多边形: 形状 919">
              <a:extLst>
                <a:ext uri="{FF2B5EF4-FFF2-40B4-BE49-F238E27FC236}">
                  <a16:creationId xmlns:a16="http://schemas.microsoft.com/office/drawing/2014/main" id="{72EBF4D5-37EB-4764-8AFB-DFEC9CE1145B}"/>
                </a:ext>
              </a:extLst>
            </p:cNvPr>
            <p:cNvSpPr/>
            <p:nvPr/>
          </p:nvSpPr>
          <p:spPr bwMode="auto">
            <a:xfrm>
              <a:off x="2860925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1" name="任意多边形: 形状 920">
              <a:extLst>
                <a:ext uri="{FF2B5EF4-FFF2-40B4-BE49-F238E27FC236}">
                  <a16:creationId xmlns:a16="http://schemas.microsoft.com/office/drawing/2014/main" id="{9714F03A-C8E9-46A4-8411-54A25D8AF802}"/>
                </a:ext>
              </a:extLst>
            </p:cNvPr>
            <p:cNvSpPr/>
            <p:nvPr/>
          </p:nvSpPr>
          <p:spPr bwMode="auto">
            <a:xfrm>
              <a:off x="3022934" y="3678869"/>
              <a:ext cx="148123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2" name="任意多边形: 形状 921">
              <a:extLst>
                <a:ext uri="{FF2B5EF4-FFF2-40B4-BE49-F238E27FC236}">
                  <a16:creationId xmlns:a16="http://schemas.microsoft.com/office/drawing/2014/main" id="{6B02849A-7822-4245-BE75-36AE67D9733F}"/>
                </a:ext>
              </a:extLst>
            </p:cNvPr>
            <p:cNvSpPr/>
            <p:nvPr/>
          </p:nvSpPr>
          <p:spPr bwMode="auto">
            <a:xfrm>
              <a:off x="3183401" y="3678869"/>
              <a:ext cx="149666" cy="103378"/>
            </a:xfrm>
            <a:custGeom>
              <a:avLst/>
              <a:gdLst>
                <a:gd name="T0" fmla="*/ 38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3" name="任意多边形: 形状 922">
              <a:extLst>
                <a:ext uri="{FF2B5EF4-FFF2-40B4-BE49-F238E27FC236}">
                  <a16:creationId xmlns:a16="http://schemas.microsoft.com/office/drawing/2014/main" id="{57044176-4497-4C21-BFFA-142526EBE935}"/>
                </a:ext>
              </a:extLst>
            </p:cNvPr>
            <p:cNvSpPr/>
            <p:nvPr/>
          </p:nvSpPr>
          <p:spPr bwMode="auto">
            <a:xfrm>
              <a:off x="3343867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4" name="任意多边形: 形状 923">
              <a:extLst>
                <a:ext uri="{FF2B5EF4-FFF2-40B4-BE49-F238E27FC236}">
                  <a16:creationId xmlns:a16="http://schemas.microsoft.com/office/drawing/2014/main" id="{C1BD2AC4-2F33-4150-833F-FAA54F74198A}"/>
                </a:ext>
              </a:extLst>
            </p:cNvPr>
            <p:cNvSpPr/>
            <p:nvPr/>
          </p:nvSpPr>
          <p:spPr bwMode="auto">
            <a:xfrm>
              <a:off x="3504334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5" name="任意多边形: 形状 924">
              <a:extLst>
                <a:ext uri="{FF2B5EF4-FFF2-40B4-BE49-F238E27FC236}">
                  <a16:creationId xmlns:a16="http://schemas.microsoft.com/office/drawing/2014/main" id="{B069BA56-ECF6-444A-8C69-DB9A3AACA157}"/>
                </a:ext>
              </a:extLst>
            </p:cNvPr>
            <p:cNvSpPr/>
            <p:nvPr/>
          </p:nvSpPr>
          <p:spPr bwMode="auto">
            <a:xfrm>
              <a:off x="3664800" y="3678869"/>
              <a:ext cx="145037" cy="103378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6" name="任意多边形: 形状 925">
              <a:extLst>
                <a:ext uri="{FF2B5EF4-FFF2-40B4-BE49-F238E27FC236}">
                  <a16:creationId xmlns:a16="http://schemas.microsoft.com/office/drawing/2014/main" id="{1F1097C6-47BB-4355-AF85-80CA89E7DB88}"/>
                </a:ext>
              </a:extLst>
            </p:cNvPr>
            <p:cNvSpPr/>
            <p:nvPr/>
          </p:nvSpPr>
          <p:spPr bwMode="auto">
            <a:xfrm>
              <a:off x="3825267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7" name="任意多边形: 形状 926">
              <a:extLst>
                <a:ext uri="{FF2B5EF4-FFF2-40B4-BE49-F238E27FC236}">
                  <a16:creationId xmlns:a16="http://schemas.microsoft.com/office/drawing/2014/main" id="{BDD077FD-BDDC-4665-B4C4-3D46A243DC2E}"/>
                </a:ext>
              </a:extLst>
            </p:cNvPr>
            <p:cNvSpPr/>
            <p:nvPr/>
          </p:nvSpPr>
          <p:spPr bwMode="auto">
            <a:xfrm>
              <a:off x="3985733" y="3678869"/>
              <a:ext cx="141951" cy="103378"/>
            </a:xfrm>
            <a:custGeom>
              <a:avLst/>
              <a:gdLst>
                <a:gd name="T0" fmla="*/ 38 w 39"/>
                <a:gd name="T1" fmla="*/ 14 h 28"/>
                <a:gd name="T2" fmla="*/ 23 w 39"/>
                <a:gd name="T3" fmla="*/ 0 h 28"/>
                <a:gd name="T4" fmla="*/ 2 w 39"/>
                <a:gd name="T5" fmla="*/ 14 h 28"/>
                <a:gd name="T6" fmla="*/ 17 w 39"/>
                <a:gd name="T7" fmla="*/ 28 h 28"/>
                <a:gd name="T8" fmla="*/ 38 w 39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8">
                  <a:moveTo>
                    <a:pt x="38" y="14"/>
                  </a:moveTo>
                  <a:cubicBezTo>
                    <a:pt x="39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8" name="任意多边形: 形状 927">
              <a:extLst>
                <a:ext uri="{FF2B5EF4-FFF2-40B4-BE49-F238E27FC236}">
                  <a16:creationId xmlns:a16="http://schemas.microsoft.com/office/drawing/2014/main" id="{EC8DAE56-428C-4945-8F6D-A1187B01B1D5}"/>
                </a:ext>
              </a:extLst>
            </p:cNvPr>
            <p:cNvSpPr/>
            <p:nvPr/>
          </p:nvSpPr>
          <p:spPr bwMode="auto">
            <a:xfrm>
              <a:off x="2654170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5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9" name="任意多边形: 形状 928">
              <a:extLst>
                <a:ext uri="{FF2B5EF4-FFF2-40B4-BE49-F238E27FC236}">
                  <a16:creationId xmlns:a16="http://schemas.microsoft.com/office/drawing/2014/main" id="{F0394B51-9ACE-49E3-8142-B56F1E611F39}"/>
                </a:ext>
              </a:extLst>
            </p:cNvPr>
            <p:cNvSpPr/>
            <p:nvPr/>
          </p:nvSpPr>
          <p:spPr bwMode="auto">
            <a:xfrm>
              <a:off x="2814636" y="3803849"/>
              <a:ext cx="152752" cy="101834"/>
            </a:xfrm>
            <a:custGeom>
              <a:avLst/>
              <a:gdLst>
                <a:gd name="T0" fmla="*/ 40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40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0" name="任意多边形: 形状 929">
              <a:extLst>
                <a:ext uri="{FF2B5EF4-FFF2-40B4-BE49-F238E27FC236}">
                  <a16:creationId xmlns:a16="http://schemas.microsoft.com/office/drawing/2014/main" id="{3E456F71-5781-4BC9-BDCD-3BA644757EB7}"/>
                </a:ext>
              </a:extLst>
            </p:cNvPr>
            <p:cNvSpPr/>
            <p:nvPr/>
          </p:nvSpPr>
          <p:spPr bwMode="auto">
            <a:xfrm>
              <a:off x="2978188" y="3803849"/>
              <a:ext cx="152752" cy="101834"/>
            </a:xfrm>
            <a:custGeom>
              <a:avLst/>
              <a:gdLst>
                <a:gd name="T0" fmla="*/ 39 w 42"/>
                <a:gd name="T1" fmla="*/ 14 h 28"/>
                <a:gd name="T2" fmla="*/ 26 w 42"/>
                <a:gd name="T3" fmla="*/ 0 h 28"/>
                <a:gd name="T4" fmla="*/ 3 w 42"/>
                <a:gd name="T5" fmla="*/ 14 h 28"/>
                <a:gd name="T6" fmla="*/ 16 w 42"/>
                <a:gd name="T7" fmla="*/ 28 h 28"/>
                <a:gd name="T8" fmla="*/ 39 w 42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8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1" name="任意多边形: 形状 930">
              <a:extLst>
                <a:ext uri="{FF2B5EF4-FFF2-40B4-BE49-F238E27FC236}">
                  <a16:creationId xmlns:a16="http://schemas.microsoft.com/office/drawing/2014/main" id="{D9A60B7D-CC0C-4D6D-9EFC-6F49C26E03B5}"/>
                </a:ext>
              </a:extLst>
            </p:cNvPr>
            <p:cNvSpPr/>
            <p:nvPr/>
          </p:nvSpPr>
          <p:spPr bwMode="auto">
            <a:xfrm>
              <a:off x="3143284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2" name="任意多边形: 形状 931">
              <a:extLst>
                <a:ext uri="{FF2B5EF4-FFF2-40B4-BE49-F238E27FC236}">
                  <a16:creationId xmlns:a16="http://schemas.microsoft.com/office/drawing/2014/main" id="{F97737BD-0F73-47E0-ACB0-975F80FCB4D0}"/>
                </a:ext>
              </a:extLst>
            </p:cNvPr>
            <p:cNvSpPr/>
            <p:nvPr/>
          </p:nvSpPr>
          <p:spPr bwMode="auto">
            <a:xfrm>
              <a:off x="3306837" y="3803849"/>
              <a:ext cx="149666" cy="101834"/>
            </a:xfrm>
            <a:custGeom>
              <a:avLst/>
              <a:gdLst>
                <a:gd name="T0" fmla="*/ 38 w 41"/>
                <a:gd name="T1" fmla="*/ 14 h 28"/>
                <a:gd name="T2" fmla="*/ 24 w 41"/>
                <a:gd name="T3" fmla="*/ 0 h 28"/>
                <a:gd name="T4" fmla="*/ 2 w 41"/>
                <a:gd name="T5" fmla="*/ 14 h 28"/>
                <a:gd name="T6" fmla="*/ 16 w 41"/>
                <a:gd name="T7" fmla="*/ 28 h 28"/>
                <a:gd name="T8" fmla="*/ 38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8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6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3" name="任意多边形: 形状 932">
              <a:extLst>
                <a:ext uri="{FF2B5EF4-FFF2-40B4-BE49-F238E27FC236}">
                  <a16:creationId xmlns:a16="http://schemas.microsoft.com/office/drawing/2014/main" id="{6B7AF5BC-F945-4868-B06B-E2D78918DE62}"/>
                </a:ext>
              </a:extLst>
            </p:cNvPr>
            <p:cNvSpPr/>
            <p:nvPr/>
          </p:nvSpPr>
          <p:spPr bwMode="auto">
            <a:xfrm>
              <a:off x="3467303" y="3803849"/>
              <a:ext cx="149666" cy="101834"/>
            </a:xfrm>
            <a:custGeom>
              <a:avLst/>
              <a:gdLst>
                <a:gd name="T0" fmla="*/ 39 w 41"/>
                <a:gd name="T1" fmla="*/ 14 h 28"/>
                <a:gd name="T2" fmla="*/ 25 w 41"/>
                <a:gd name="T3" fmla="*/ 0 h 28"/>
                <a:gd name="T4" fmla="*/ 3 w 41"/>
                <a:gd name="T5" fmla="*/ 14 h 28"/>
                <a:gd name="T6" fmla="*/ 17 w 41"/>
                <a:gd name="T7" fmla="*/ 28 h 28"/>
                <a:gd name="T8" fmla="*/ 39 w 41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8">
                  <a:moveTo>
                    <a:pt x="39" y="14"/>
                  </a:moveTo>
                  <a:cubicBezTo>
                    <a:pt x="41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4" name="任意多边形: 形状 933">
              <a:extLst>
                <a:ext uri="{FF2B5EF4-FFF2-40B4-BE49-F238E27FC236}">
                  <a16:creationId xmlns:a16="http://schemas.microsoft.com/office/drawing/2014/main" id="{08B520FB-981F-4C8D-BE2B-A3C8B37EB7A1}"/>
                </a:ext>
              </a:extLst>
            </p:cNvPr>
            <p:cNvSpPr/>
            <p:nvPr/>
          </p:nvSpPr>
          <p:spPr bwMode="auto">
            <a:xfrm>
              <a:off x="3630855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4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8"/>
                    <a:pt x="17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5" name="任意多边形: 形状 934">
              <a:extLst>
                <a:ext uri="{FF2B5EF4-FFF2-40B4-BE49-F238E27FC236}">
                  <a16:creationId xmlns:a16="http://schemas.microsoft.com/office/drawing/2014/main" id="{C6FECC64-A081-4153-8ED9-A4F62B138873}"/>
                </a:ext>
              </a:extLst>
            </p:cNvPr>
            <p:cNvSpPr/>
            <p:nvPr/>
          </p:nvSpPr>
          <p:spPr bwMode="auto">
            <a:xfrm>
              <a:off x="3795950" y="3803849"/>
              <a:ext cx="145037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6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6" y="28"/>
                    <a:pt x="16" y="28"/>
                  </a:cubicBezTo>
                  <a:cubicBezTo>
                    <a:pt x="27" y="28"/>
                    <a:pt x="36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6" name="任意多边形: 形状 935">
              <a:extLst>
                <a:ext uri="{FF2B5EF4-FFF2-40B4-BE49-F238E27FC236}">
                  <a16:creationId xmlns:a16="http://schemas.microsoft.com/office/drawing/2014/main" id="{1593B3E9-3A65-4A70-A9F5-F45FD7971031}"/>
                </a:ext>
              </a:extLst>
            </p:cNvPr>
            <p:cNvSpPr/>
            <p:nvPr/>
          </p:nvSpPr>
          <p:spPr bwMode="auto">
            <a:xfrm>
              <a:off x="3956417" y="3803849"/>
              <a:ext cx="146580" cy="101834"/>
            </a:xfrm>
            <a:custGeom>
              <a:avLst/>
              <a:gdLst>
                <a:gd name="T0" fmla="*/ 39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9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9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4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7" name="任意多边形: 形状 936">
              <a:extLst>
                <a:ext uri="{FF2B5EF4-FFF2-40B4-BE49-F238E27FC236}">
                  <a16:creationId xmlns:a16="http://schemas.microsoft.com/office/drawing/2014/main" id="{B1453498-BEA8-40E0-AF1C-6F343495FE32}"/>
                </a:ext>
              </a:extLst>
            </p:cNvPr>
            <p:cNvSpPr/>
            <p:nvPr/>
          </p:nvSpPr>
          <p:spPr bwMode="auto">
            <a:xfrm>
              <a:off x="4119969" y="3803849"/>
              <a:ext cx="146580" cy="101834"/>
            </a:xfrm>
            <a:custGeom>
              <a:avLst/>
              <a:gdLst>
                <a:gd name="T0" fmla="*/ 38 w 40"/>
                <a:gd name="T1" fmla="*/ 14 h 28"/>
                <a:gd name="T2" fmla="*/ 23 w 40"/>
                <a:gd name="T3" fmla="*/ 0 h 28"/>
                <a:gd name="T4" fmla="*/ 2 w 40"/>
                <a:gd name="T5" fmla="*/ 14 h 28"/>
                <a:gd name="T6" fmla="*/ 17 w 40"/>
                <a:gd name="T7" fmla="*/ 28 h 28"/>
                <a:gd name="T8" fmla="*/ 38 w 40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8">
                  <a:moveTo>
                    <a:pt x="38" y="14"/>
                  </a:moveTo>
                  <a:cubicBezTo>
                    <a:pt x="40" y="6"/>
                    <a:pt x="33" y="0"/>
                    <a:pt x="23" y="0"/>
                  </a:cubicBezTo>
                  <a:cubicBezTo>
                    <a:pt x="13" y="0"/>
                    <a:pt x="3" y="6"/>
                    <a:pt x="2" y="14"/>
                  </a:cubicBezTo>
                  <a:cubicBezTo>
                    <a:pt x="0" y="22"/>
                    <a:pt x="7" y="28"/>
                    <a:pt x="17" y="28"/>
                  </a:cubicBezTo>
                  <a:cubicBezTo>
                    <a:pt x="27" y="28"/>
                    <a:pt x="37" y="22"/>
                    <a:pt x="38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8" name="任意多边形: 形状 937">
              <a:extLst>
                <a:ext uri="{FF2B5EF4-FFF2-40B4-BE49-F238E27FC236}">
                  <a16:creationId xmlns:a16="http://schemas.microsoft.com/office/drawing/2014/main" id="{CA77FEF7-B1BD-40DA-9E23-2056831E9674}"/>
                </a:ext>
              </a:extLst>
            </p:cNvPr>
            <p:cNvSpPr/>
            <p:nvPr/>
          </p:nvSpPr>
          <p:spPr bwMode="auto">
            <a:xfrm>
              <a:off x="2603253" y="3931913"/>
              <a:ext cx="155838" cy="104920"/>
            </a:xfrm>
            <a:custGeom>
              <a:avLst/>
              <a:gdLst>
                <a:gd name="T0" fmla="*/ 40 w 43"/>
                <a:gd name="T1" fmla="*/ 14 h 29"/>
                <a:gd name="T2" fmla="*/ 27 w 43"/>
                <a:gd name="T3" fmla="*/ 0 h 29"/>
                <a:gd name="T4" fmla="*/ 3 w 43"/>
                <a:gd name="T5" fmla="*/ 14 h 29"/>
                <a:gd name="T6" fmla="*/ 16 w 43"/>
                <a:gd name="T7" fmla="*/ 29 h 29"/>
                <a:gd name="T8" fmla="*/ 40 w 43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29">
                  <a:moveTo>
                    <a:pt x="40" y="14"/>
                  </a:moveTo>
                  <a:cubicBezTo>
                    <a:pt x="43" y="6"/>
                    <a:pt x="37" y="0"/>
                    <a:pt x="27" y="0"/>
                  </a:cubicBezTo>
                  <a:cubicBezTo>
                    <a:pt x="17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9" name="任意多边形: 形状 938">
              <a:extLst>
                <a:ext uri="{FF2B5EF4-FFF2-40B4-BE49-F238E27FC236}">
                  <a16:creationId xmlns:a16="http://schemas.microsoft.com/office/drawing/2014/main" id="{50256C31-D3B5-4D85-9EBB-1FA8FDEF87E7}"/>
                </a:ext>
              </a:extLst>
            </p:cNvPr>
            <p:cNvSpPr/>
            <p:nvPr/>
          </p:nvSpPr>
          <p:spPr bwMode="auto">
            <a:xfrm>
              <a:off x="2769891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6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0" name="任意多边形: 形状 939">
              <a:extLst>
                <a:ext uri="{FF2B5EF4-FFF2-40B4-BE49-F238E27FC236}">
                  <a16:creationId xmlns:a16="http://schemas.microsoft.com/office/drawing/2014/main" id="{7E19097C-6591-400F-9D62-0E133CFF195F}"/>
                </a:ext>
              </a:extLst>
            </p:cNvPr>
            <p:cNvSpPr/>
            <p:nvPr/>
          </p:nvSpPr>
          <p:spPr bwMode="auto">
            <a:xfrm>
              <a:off x="2934986" y="3931913"/>
              <a:ext cx="152752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6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1" name="任意多边形: 形状 940">
              <a:extLst>
                <a:ext uri="{FF2B5EF4-FFF2-40B4-BE49-F238E27FC236}">
                  <a16:creationId xmlns:a16="http://schemas.microsoft.com/office/drawing/2014/main" id="{8D1F8D96-54D4-4512-8D79-9E5AC859E4C5}"/>
                </a:ext>
              </a:extLst>
            </p:cNvPr>
            <p:cNvSpPr/>
            <p:nvPr/>
          </p:nvSpPr>
          <p:spPr bwMode="auto">
            <a:xfrm>
              <a:off x="3098538" y="3931913"/>
              <a:ext cx="154295" cy="104920"/>
            </a:xfrm>
            <a:custGeom>
              <a:avLst/>
              <a:gdLst>
                <a:gd name="T0" fmla="*/ 40 w 42"/>
                <a:gd name="T1" fmla="*/ 14 h 29"/>
                <a:gd name="T2" fmla="*/ 26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40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40" y="14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6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40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2" name="任意多边形: 形状 941">
              <a:extLst>
                <a:ext uri="{FF2B5EF4-FFF2-40B4-BE49-F238E27FC236}">
                  <a16:creationId xmlns:a16="http://schemas.microsoft.com/office/drawing/2014/main" id="{2898F8DF-89AC-4451-A25D-73DEB3B1C9FC}"/>
                </a:ext>
              </a:extLst>
            </p:cNvPr>
            <p:cNvSpPr/>
            <p:nvPr/>
          </p:nvSpPr>
          <p:spPr bwMode="auto">
            <a:xfrm>
              <a:off x="3266720" y="3931913"/>
              <a:ext cx="152752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2 w 42"/>
                <a:gd name="T5" fmla="*/ 14 h 29"/>
                <a:gd name="T6" fmla="*/ 16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3" name="任意多边形: 形状 942">
              <a:extLst>
                <a:ext uri="{FF2B5EF4-FFF2-40B4-BE49-F238E27FC236}">
                  <a16:creationId xmlns:a16="http://schemas.microsoft.com/office/drawing/2014/main" id="{110FAE27-D5C8-44A5-94DC-87A40197CF0F}"/>
                </a:ext>
              </a:extLst>
            </p:cNvPr>
            <p:cNvSpPr/>
            <p:nvPr/>
          </p:nvSpPr>
          <p:spPr bwMode="auto">
            <a:xfrm>
              <a:off x="3430272" y="3931913"/>
              <a:ext cx="154295" cy="104920"/>
            </a:xfrm>
            <a:custGeom>
              <a:avLst/>
              <a:gdLst>
                <a:gd name="T0" fmla="*/ 39 w 42"/>
                <a:gd name="T1" fmla="*/ 14 h 29"/>
                <a:gd name="T2" fmla="*/ 25 w 42"/>
                <a:gd name="T3" fmla="*/ 0 h 29"/>
                <a:gd name="T4" fmla="*/ 3 w 42"/>
                <a:gd name="T5" fmla="*/ 14 h 29"/>
                <a:gd name="T6" fmla="*/ 17 w 42"/>
                <a:gd name="T7" fmla="*/ 29 h 29"/>
                <a:gd name="T8" fmla="*/ 39 w 42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29">
                  <a:moveTo>
                    <a:pt x="39" y="14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3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4" name="任意多边形: 形状 943">
              <a:extLst>
                <a:ext uri="{FF2B5EF4-FFF2-40B4-BE49-F238E27FC236}">
                  <a16:creationId xmlns:a16="http://schemas.microsoft.com/office/drawing/2014/main" id="{D599CF4F-4AE3-4975-BEA0-E8F0EC98FF0C}"/>
                </a:ext>
              </a:extLst>
            </p:cNvPr>
            <p:cNvSpPr/>
            <p:nvPr/>
          </p:nvSpPr>
          <p:spPr bwMode="auto">
            <a:xfrm>
              <a:off x="3598453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6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6" y="29"/>
                    <a:pt x="16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5" name="任意多边形: 形状 944">
              <a:extLst>
                <a:ext uri="{FF2B5EF4-FFF2-40B4-BE49-F238E27FC236}">
                  <a16:creationId xmlns:a16="http://schemas.microsoft.com/office/drawing/2014/main" id="{7EDF2787-4F7C-47D3-AE9B-6C23C5DA6D0F}"/>
                </a:ext>
              </a:extLst>
            </p:cNvPr>
            <p:cNvSpPr/>
            <p:nvPr/>
          </p:nvSpPr>
          <p:spPr bwMode="auto">
            <a:xfrm>
              <a:off x="3763549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7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7" y="29"/>
                  </a:cubicBezTo>
                  <a:cubicBezTo>
                    <a:pt x="27" y="29"/>
                    <a:pt x="37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6" name="任意多边形: 形状 945">
              <a:extLst>
                <a:ext uri="{FF2B5EF4-FFF2-40B4-BE49-F238E27FC236}">
                  <a16:creationId xmlns:a16="http://schemas.microsoft.com/office/drawing/2014/main" id="{F95295DC-2DC3-43F2-B8AF-FABBCAA5AAFB}"/>
                </a:ext>
              </a:extLst>
            </p:cNvPr>
            <p:cNvSpPr/>
            <p:nvPr/>
          </p:nvSpPr>
          <p:spPr bwMode="auto">
            <a:xfrm>
              <a:off x="3927101" y="3931913"/>
              <a:ext cx="149666" cy="104920"/>
            </a:xfrm>
            <a:custGeom>
              <a:avLst/>
              <a:gdLst>
                <a:gd name="T0" fmla="*/ 39 w 41"/>
                <a:gd name="T1" fmla="*/ 14 h 29"/>
                <a:gd name="T2" fmla="*/ 24 w 41"/>
                <a:gd name="T3" fmla="*/ 0 h 29"/>
                <a:gd name="T4" fmla="*/ 2 w 41"/>
                <a:gd name="T5" fmla="*/ 14 h 29"/>
                <a:gd name="T6" fmla="*/ 18 w 41"/>
                <a:gd name="T7" fmla="*/ 29 h 29"/>
                <a:gd name="T8" fmla="*/ 39 w 41"/>
                <a:gd name="T9" fmla="*/ 14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29">
                  <a:moveTo>
                    <a:pt x="39" y="14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4"/>
                  </a:cubicBezTo>
                  <a:cubicBezTo>
                    <a:pt x="0" y="22"/>
                    <a:pt x="7" y="29"/>
                    <a:pt x="18" y="29"/>
                  </a:cubicBezTo>
                  <a:cubicBezTo>
                    <a:pt x="28" y="29"/>
                    <a:pt x="38" y="22"/>
                    <a:pt x="39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7" name="任意多边形: 形状 946">
              <a:extLst>
                <a:ext uri="{FF2B5EF4-FFF2-40B4-BE49-F238E27FC236}">
                  <a16:creationId xmlns:a16="http://schemas.microsoft.com/office/drawing/2014/main" id="{DB1691EF-372A-42DD-81FA-4B3ECFD21440}"/>
                </a:ext>
              </a:extLst>
            </p:cNvPr>
            <p:cNvSpPr/>
            <p:nvPr/>
          </p:nvSpPr>
          <p:spPr bwMode="auto">
            <a:xfrm>
              <a:off x="2718973" y="4063064"/>
              <a:ext cx="160466" cy="109550"/>
            </a:xfrm>
            <a:custGeom>
              <a:avLst/>
              <a:gdLst>
                <a:gd name="T0" fmla="*/ 41 w 44"/>
                <a:gd name="T1" fmla="*/ 15 h 30"/>
                <a:gd name="T2" fmla="*/ 28 w 44"/>
                <a:gd name="T3" fmla="*/ 0 h 30"/>
                <a:gd name="T4" fmla="*/ 3 w 44"/>
                <a:gd name="T5" fmla="*/ 15 h 30"/>
                <a:gd name="T6" fmla="*/ 17 w 44"/>
                <a:gd name="T7" fmla="*/ 30 h 30"/>
                <a:gd name="T8" fmla="*/ 41 w 44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0">
                  <a:moveTo>
                    <a:pt x="41" y="15"/>
                  </a:moveTo>
                  <a:cubicBezTo>
                    <a:pt x="44" y="6"/>
                    <a:pt x="38" y="0"/>
                    <a:pt x="28" y="0"/>
                  </a:cubicBezTo>
                  <a:cubicBezTo>
                    <a:pt x="17" y="0"/>
                    <a:pt x="6" y="6"/>
                    <a:pt x="3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8" name="任意多边形: 形状 947">
              <a:extLst>
                <a:ext uri="{FF2B5EF4-FFF2-40B4-BE49-F238E27FC236}">
                  <a16:creationId xmlns:a16="http://schemas.microsoft.com/office/drawing/2014/main" id="{C204B58C-2C3B-4E6A-9538-E23BEA3BE29A}"/>
                </a:ext>
              </a:extLst>
            </p:cNvPr>
            <p:cNvSpPr/>
            <p:nvPr/>
          </p:nvSpPr>
          <p:spPr bwMode="auto">
            <a:xfrm>
              <a:off x="2890241" y="4063064"/>
              <a:ext cx="157381" cy="109550"/>
            </a:xfrm>
            <a:custGeom>
              <a:avLst/>
              <a:gdLst>
                <a:gd name="T0" fmla="*/ 40 w 43"/>
                <a:gd name="T1" fmla="*/ 15 h 30"/>
                <a:gd name="T2" fmla="*/ 26 w 43"/>
                <a:gd name="T3" fmla="*/ 0 h 30"/>
                <a:gd name="T4" fmla="*/ 2 w 43"/>
                <a:gd name="T5" fmla="*/ 15 h 30"/>
                <a:gd name="T6" fmla="*/ 16 w 43"/>
                <a:gd name="T7" fmla="*/ 30 h 30"/>
                <a:gd name="T8" fmla="*/ 40 w 43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0">
                  <a:moveTo>
                    <a:pt x="40" y="15"/>
                  </a:moveTo>
                  <a:cubicBezTo>
                    <a:pt x="43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9" name="任意多边形: 形状 948">
              <a:extLst>
                <a:ext uri="{FF2B5EF4-FFF2-40B4-BE49-F238E27FC236}">
                  <a16:creationId xmlns:a16="http://schemas.microsoft.com/office/drawing/2014/main" id="{10B15C17-7125-4384-A476-E7D6AA96E892}"/>
                </a:ext>
              </a:extLst>
            </p:cNvPr>
            <p:cNvSpPr/>
            <p:nvPr/>
          </p:nvSpPr>
          <p:spPr bwMode="auto">
            <a:xfrm>
              <a:off x="3058422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6 w 42"/>
                <a:gd name="T3" fmla="*/ 0 h 30"/>
                <a:gd name="T4" fmla="*/ 2 w 42"/>
                <a:gd name="T5" fmla="*/ 15 h 30"/>
                <a:gd name="T6" fmla="*/ 16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6" y="0"/>
                  </a:cubicBezTo>
                  <a:cubicBezTo>
                    <a:pt x="16" y="0"/>
                    <a:pt x="5" y="6"/>
                    <a:pt x="2" y="15"/>
                  </a:cubicBezTo>
                  <a:cubicBezTo>
                    <a:pt x="0" y="23"/>
                    <a:pt x="6" y="30"/>
                    <a:pt x="16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0" name="任意多边形: 形状 949">
              <a:extLst>
                <a:ext uri="{FF2B5EF4-FFF2-40B4-BE49-F238E27FC236}">
                  <a16:creationId xmlns:a16="http://schemas.microsoft.com/office/drawing/2014/main" id="{9C41FBFC-C96A-4E79-8D93-242013443D21}"/>
                </a:ext>
              </a:extLst>
            </p:cNvPr>
            <p:cNvSpPr/>
            <p:nvPr/>
          </p:nvSpPr>
          <p:spPr bwMode="auto">
            <a:xfrm>
              <a:off x="3226603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6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7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1" name="任意多边形: 形状 950">
              <a:extLst>
                <a:ext uri="{FF2B5EF4-FFF2-40B4-BE49-F238E27FC236}">
                  <a16:creationId xmlns:a16="http://schemas.microsoft.com/office/drawing/2014/main" id="{F2D796BD-E2C4-4E32-8C23-B3D570E955F4}"/>
                </a:ext>
              </a:extLst>
            </p:cNvPr>
            <p:cNvSpPr/>
            <p:nvPr/>
          </p:nvSpPr>
          <p:spPr bwMode="auto">
            <a:xfrm>
              <a:off x="3394784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5" y="6"/>
                    <a:pt x="2" y="15"/>
                  </a:cubicBezTo>
                  <a:cubicBezTo>
                    <a:pt x="0" y="23"/>
                    <a:pt x="6" y="30"/>
                    <a:pt x="17" y="30"/>
                  </a:cubicBezTo>
                  <a:cubicBezTo>
                    <a:pt x="27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2" name="任意多边形: 形状 951">
              <a:extLst>
                <a:ext uri="{FF2B5EF4-FFF2-40B4-BE49-F238E27FC236}">
                  <a16:creationId xmlns:a16="http://schemas.microsoft.com/office/drawing/2014/main" id="{AD705C7A-6AAA-4447-B1DB-E153F8001923}"/>
                </a:ext>
              </a:extLst>
            </p:cNvPr>
            <p:cNvSpPr/>
            <p:nvPr/>
          </p:nvSpPr>
          <p:spPr bwMode="auto">
            <a:xfrm>
              <a:off x="3562966" y="4063064"/>
              <a:ext cx="152752" cy="109550"/>
            </a:xfrm>
            <a:custGeom>
              <a:avLst/>
              <a:gdLst>
                <a:gd name="T0" fmla="*/ 40 w 42"/>
                <a:gd name="T1" fmla="*/ 15 h 30"/>
                <a:gd name="T2" fmla="*/ 25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5" y="0"/>
                  </a:cubicBezTo>
                  <a:cubicBezTo>
                    <a:pt x="15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3" name="任意多边形: 形状 952">
              <a:extLst>
                <a:ext uri="{FF2B5EF4-FFF2-40B4-BE49-F238E27FC236}">
                  <a16:creationId xmlns:a16="http://schemas.microsoft.com/office/drawing/2014/main" id="{AF6A8388-627B-479B-B563-D4A2D92A415B}"/>
                </a:ext>
              </a:extLst>
            </p:cNvPr>
            <p:cNvSpPr/>
            <p:nvPr/>
          </p:nvSpPr>
          <p:spPr bwMode="auto">
            <a:xfrm>
              <a:off x="3729604" y="4063064"/>
              <a:ext cx="154295" cy="109550"/>
            </a:xfrm>
            <a:custGeom>
              <a:avLst/>
              <a:gdLst>
                <a:gd name="T0" fmla="*/ 40 w 42"/>
                <a:gd name="T1" fmla="*/ 15 h 30"/>
                <a:gd name="T2" fmla="*/ 24 w 42"/>
                <a:gd name="T3" fmla="*/ 0 h 30"/>
                <a:gd name="T4" fmla="*/ 2 w 42"/>
                <a:gd name="T5" fmla="*/ 15 h 30"/>
                <a:gd name="T6" fmla="*/ 17 w 42"/>
                <a:gd name="T7" fmla="*/ 30 h 30"/>
                <a:gd name="T8" fmla="*/ 40 w 42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0">
                  <a:moveTo>
                    <a:pt x="40" y="15"/>
                  </a:moveTo>
                  <a:cubicBezTo>
                    <a:pt x="42" y="6"/>
                    <a:pt x="35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7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4" name="任意多边形: 形状 953">
              <a:extLst>
                <a:ext uri="{FF2B5EF4-FFF2-40B4-BE49-F238E27FC236}">
                  <a16:creationId xmlns:a16="http://schemas.microsoft.com/office/drawing/2014/main" id="{D505BB6F-D7BB-497C-86C6-C64774AFAB42}"/>
                </a:ext>
              </a:extLst>
            </p:cNvPr>
            <p:cNvSpPr/>
            <p:nvPr/>
          </p:nvSpPr>
          <p:spPr bwMode="auto">
            <a:xfrm>
              <a:off x="3897785" y="4063064"/>
              <a:ext cx="149666" cy="109550"/>
            </a:xfrm>
            <a:custGeom>
              <a:avLst/>
              <a:gdLst>
                <a:gd name="T0" fmla="*/ 40 w 41"/>
                <a:gd name="T1" fmla="*/ 15 h 30"/>
                <a:gd name="T2" fmla="*/ 24 w 41"/>
                <a:gd name="T3" fmla="*/ 0 h 30"/>
                <a:gd name="T4" fmla="*/ 2 w 41"/>
                <a:gd name="T5" fmla="*/ 15 h 30"/>
                <a:gd name="T6" fmla="*/ 18 w 41"/>
                <a:gd name="T7" fmla="*/ 30 h 30"/>
                <a:gd name="T8" fmla="*/ 40 w 41"/>
                <a:gd name="T9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30">
                  <a:moveTo>
                    <a:pt x="40" y="15"/>
                  </a:moveTo>
                  <a:cubicBezTo>
                    <a:pt x="41" y="6"/>
                    <a:pt x="34" y="0"/>
                    <a:pt x="24" y="0"/>
                  </a:cubicBezTo>
                  <a:cubicBezTo>
                    <a:pt x="14" y="0"/>
                    <a:pt x="4" y="6"/>
                    <a:pt x="2" y="15"/>
                  </a:cubicBezTo>
                  <a:cubicBezTo>
                    <a:pt x="0" y="23"/>
                    <a:pt x="7" y="30"/>
                    <a:pt x="18" y="30"/>
                  </a:cubicBezTo>
                  <a:cubicBezTo>
                    <a:pt x="28" y="30"/>
                    <a:pt x="38" y="23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5" name="任意多边形: 形状 954">
              <a:extLst>
                <a:ext uri="{FF2B5EF4-FFF2-40B4-BE49-F238E27FC236}">
                  <a16:creationId xmlns:a16="http://schemas.microsoft.com/office/drawing/2014/main" id="{AB9C00D8-7AA2-40E7-82D2-E09E5BAC61AE}"/>
                </a:ext>
              </a:extLst>
            </p:cNvPr>
            <p:cNvSpPr/>
            <p:nvPr/>
          </p:nvSpPr>
          <p:spPr bwMode="auto">
            <a:xfrm>
              <a:off x="2843953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6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6" name="任意多边形: 形状 955">
              <a:extLst>
                <a:ext uri="{FF2B5EF4-FFF2-40B4-BE49-F238E27FC236}">
                  <a16:creationId xmlns:a16="http://schemas.microsoft.com/office/drawing/2014/main" id="{9CC71030-4DBF-472C-AF54-D75D211307D6}"/>
                </a:ext>
              </a:extLst>
            </p:cNvPr>
            <p:cNvSpPr/>
            <p:nvPr/>
          </p:nvSpPr>
          <p:spPr bwMode="auto">
            <a:xfrm>
              <a:off x="3015219" y="4198843"/>
              <a:ext cx="155838" cy="112636"/>
            </a:xfrm>
            <a:custGeom>
              <a:avLst/>
              <a:gdLst>
                <a:gd name="T0" fmla="*/ 40 w 43"/>
                <a:gd name="T1" fmla="*/ 15 h 31"/>
                <a:gd name="T2" fmla="*/ 26 w 43"/>
                <a:gd name="T3" fmla="*/ 0 h 31"/>
                <a:gd name="T4" fmla="*/ 2 w 43"/>
                <a:gd name="T5" fmla="*/ 15 h 31"/>
                <a:gd name="T6" fmla="*/ 16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7" y="0"/>
                    <a:pt x="26" y="0"/>
                  </a:cubicBezTo>
                  <a:cubicBezTo>
                    <a:pt x="16" y="0"/>
                    <a:pt x="5" y="7"/>
                    <a:pt x="2" y="15"/>
                  </a:cubicBezTo>
                  <a:cubicBezTo>
                    <a:pt x="0" y="24"/>
                    <a:pt x="6" y="31"/>
                    <a:pt x="16" y="31"/>
                  </a:cubicBezTo>
                  <a:cubicBezTo>
                    <a:pt x="27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7" name="任意多边形: 形状 956">
              <a:extLst>
                <a:ext uri="{FF2B5EF4-FFF2-40B4-BE49-F238E27FC236}">
                  <a16:creationId xmlns:a16="http://schemas.microsoft.com/office/drawing/2014/main" id="{AA5E0D1F-A3DB-426B-B82E-CAF1EC34FC26}"/>
                </a:ext>
              </a:extLst>
            </p:cNvPr>
            <p:cNvSpPr/>
            <p:nvPr/>
          </p:nvSpPr>
          <p:spPr bwMode="auto">
            <a:xfrm>
              <a:off x="3183401" y="4198843"/>
              <a:ext cx="160466" cy="112636"/>
            </a:xfrm>
            <a:custGeom>
              <a:avLst/>
              <a:gdLst>
                <a:gd name="T0" fmla="*/ 41 w 44"/>
                <a:gd name="T1" fmla="*/ 15 h 31"/>
                <a:gd name="T2" fmla="*/ 27 w 44"/>
                <a:gd name="T3" fmla="*/ 0 h 31"/>
                <a:gd name="T4" fmla="*/ 3 w 44"/>
                <a:gd name="T5" fmla="*/ 15 h 31"/>
                <a:gd name="T6" fmla="*/ 17 w 44"/>
                <a:gd name="T7" fmla="*/ 31 h 31"/>
                <a:gd name="T8" fmla="*/ 41 w 44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1">
                  <a:moveTo>
                    <a:pt x="41" y="15"/>
                  </a:moveTo>
                  <a:cubicBezTo>
                    <a:pt x="44" y="7"/>
                    <a:pt x="37" y="0"/>
                    <a:pt x="27" y="0"/>
                  </a:cubicBezTo>
                  <a:cubicBezTo>
                    <a:pt x="16" y="0"/>
                    <a:pt x="6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9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8" name="任意多边形: 形状 957">
              <a:extLst>
                <a:ext uri="{FF2B5EF4-FFF2-40B4-BE49-F238E27FC236}">
                  <a16:creationId xmlns:a16="http://schemas.microsoft.com/office/drawing/2014/main" id="{4CF7A80D-077E-40CA-81EF-669FF0173A25}"/>
                </a:ext>
              </a:extLst>
            </p:cNvPr>
            <p:cNvSpPr/>
            <p:nvPr/>
          </p:nvSpPr>
          <p:spPr bwMode="auto">
            <a:xfrm>
              <a:off x="3354667" y="4198843"/>
              <a:ext cx="155838" cy="112636"/>
            </a:xfrm>
            <a:custGeom>
              <a:avLst/>
              <a:gdLst>
                <a:gd name="T0" fmla="*/ 41 w 43"/>
                <a:gd name="T1" fmla="*/ 15 h 31"/>
                <a:gd name="T2" fmla="*/ 26 w 43"/>
                <a:gd name="T3" fmla="*/ 0 h 31"/>
                <a:gd name="T4" fmla="*/ 3 w 43"/>
                <a:gd name="T5" fmla="*/ 15 h 31"/>
                <a:gd name="T6" fmla="*/ 17 w 43"/>
                <a:gd name="T7" fmla="*/ 31 h 31"/>
                <a:gd name="T8" fmla="*/ 41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1" y="15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6" y="0"/>
                    <a:pt x="5" y="7"/>
                    <a:pt x="3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1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9" name="任意多边形: 形状 958">
              <a:extLst>
                <a:ext uri="{FF2B5EF4-FFF2-40B4-BE49-F238E27FC236}">
                  <a16:creationId xmlns:a16="http://schemas.microsoft.com/office/drawing/2014/main" id="{36305068-A4E7-4513-8128-A9D14EB862C6}"/>
                </a:ext>
              </a:extLst>
            </p:cNvPr>
            <p:cNvSpPr/>
            <p:nvPr/>
          </p:nvSpPr>
          <p:spPr bwMode="auto">
            <a:xfrm>
              <a:off x="3525935" y="4198843"/>
              <a:ext cx="157381" cy="112636"/>
            </a:xfrm>
            <a:custGeom>
              <a:avLst/>
              <a:gdLst>
                <a:gd name="T0" fmla="*/ 40 w 43"/>
                <a:gd name="T1" fmla="*/ 15 h 31"/>
                <a:gd name="T2" fmla="*/ 25 w 43"/>
                <a:gd name="T3" fmla="*/ 0 h 31"/>
                <a:gd name="T4" fmla="*/ 2 w 43"/>
                <a:gd name="T5" fmla="*/ 15 h 31"/>
                <a:gd name="T6" fmla="*/ 17 w 43"/>
                <a:gd name="T7" fmla="*/ 31 h 31"/>
                <a:gd name="T8" fmla="*/ 40 w 43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1">
                  <a:moveTo>
                    <a:pt x="40" y="15"/>
                  </a:moveTo>
                  <a:cubicBezTo>
                    <a:pt x="43" y="7"/>
                    <a:pt x="36" y="0"/>
                    <a:pt x="25" y="0"/>
                  </a:cubicBezTo>
                  <a:cubicBezTo>
                    <a:pt x="15" y="0"/>
                    <a:pt x="5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0" name="任意多边形: 形状 959">
              <a:extLst>
                <a:ext uri="{FF2B5EF4-FFF2-40B4-BE49-F238E27FC236}">
                  <a16:creationId xmlns:a16="http://schemas.microsoft.com/office/drawing/2014/main" id="{876AFBE9-B2DC-4D5C-A8E1-B980C5118024}"/>
                </a:ext>
              </a:extLst>
            </p:cNvPr>
            <p:cNvSpPr/>
            <p:nvPr/>
          </p:nvSpPr>
          <p:spPr bwMode="auto">
            <a:xfrm>
              <a:off x="3697202" y="4198843"/>
              <a:ext cx="152752" cy="112636"/>
            </a:xfrm>
            <a:custGeom>
              <a:avLst/>
              <a:gdLst>
                <a:gd name="T0" fmla="*/ 40 w 42"/>
                <a:gd name="T1" fmla="*/ 15 h 31"/>
                <a:gd name="T2" fmla="*/ 25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5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1" name="任意多边形: 形状 960">
              <a:extLst>
                <a:ext uri="{FF2B5EF4-FFF2-40B4-BE49-F238E27FC236}">
                  <a16:creationId xmlns:a16="http://schemas.microsoft.com/office/drawing/2014/main" id="{4FBBFC6F-3060-40F0-9032-C4AF6A605C4E}"/>
                </a:ext>
              </a:extLst>
            </p:cNvPr>
            <p:cNvSpPr/>
            <p:nvPr/>
          </p:nvSpPr>
          <p:spPr bwMode="auto">
            <a:xfrm>
              <a:off x="3868469" y="4198843"/>
              <a:ext cx="154295" cy="112636"/>
            </a:xfrm>
            <a:custGeom>
              <a:avLst/>
              <a:gdLst>
                <a:gd name="T0" fmla="*/ 40 w 42"/>
                <a:gd name="T1" fmla="*/ 15 h 31"/>
                <a:gd name="T2" fmla="*/ 24 w 42"/>
                <a:gd name="T3" fmla="*/ 0 h 31"/>
                <a:gd name="T4" fmla="*/ 2 w 42"/>
                <a:gd name="T5" fmla="*/ 15 h 31"/>
                <a:gd name="T6" fmla="*/ 17 w 42"/>
                <a:gd name="T7" fmla="*/ 31 h 31"/>
                <a:gd name="T8" fmla="*/ 40 w 42"/>
                <a:gd name="T9" fmla="*/ 15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1">
                  <a:moveTo>
                    <a:pt x="40" y="15"/>
                  </a:moveTo>
                  <a:cubicBezTo>
                    <a:pt x="42" y="7"/>
                    <a:pt x="35" y="0"/>
                    <a:pt x="24" y="0"/>
                  </a:cubicBezTo>
                  <a:cubicBezTo>
                    <a:pt x="14" y="0"/>
                    <a:pt x="4" y="7"/>
                    <a:pt x="2" y="15"/>
                  </a:cubicBezTo>
                  <a:cubicBezTo>
                    <a:pt x="0" y="24"/>
                    <a:pt x="7" y="31"/>
                    <a:pt x="17" y="31"/>
                  </a:cubicBezTo>
                  <a:cubicBezTo>
                    <a:pt x="28" y="31"/>
                    <a:pt x="38" y="24"/>
                    <a:pt x="40" y="1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2" name="任意多边形: 形状 961">
              <a:extLst>
                <a:ext uri="{FF2B5EF4-FFF2-40B4-BE49-F238E27FC236}">
                  <a16:creationId xmlns:a16="http://schemas.microsoft.com/office/drawing/2014/main" id="{E5070E4C-2B08-498A-ABBE-B12ABC6EC790}"/>
                </a:ext>
              </a:extLst>
            </p:cNvPr>
            <p:cNvSpPr/>
            <p:nvPr/>
          </p:nvSpPr>
          <p:spPr bwMode="auto">
            <a:xfrm>
              <a:off x="2793035" y="4337708"/>
              <a:ext cx="163552" cy="115721"/>
            </a:xfrm>
            <a:custGeom>
              <a:avLst/>
              <a:gdLst>
                <a:gd name="T0" fmla="*/ 42 w 45"/>
                <a:gd name="T1" fmla="*/ 16 h 32"/>
                <a:gd name="T2" fmla="*/ 28 w 45"/>
                <a:gd name="T3" fmla="*/ 0 h 32"/>
                <a:gd name="T4" fmla="*/ 3 w 45"/>
                <a:gd name="T5" fmla="*/ 16 h 32"/>
                <a:gd name="T6" fmla="*/ 17 w 45"/>
                <a:gd name="T7" fmla="*/ 32 h 32"/>
                <a:gd name="T8" fmla="*/ 42 w 45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2">
                  <a:moveTo>
                    <a:pt x="42" y="16"/>
                  </a:moveTo>
                  <a:cubicBezTo>
                    <a:pt x="45" y="7"/>
                    <a:pt x="39" y="0"/>
                    <a:pt x="28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3" name="任意多边形: 形状 962">
              <a:extLst>
                <a:ext uri="{FF2B5EF4-FFF2-40B4-BE49-F238E27FC236}">
                  <a16:creationId xmlns:a16="http://schemas.microsoft.com/office/drawing/2014/main" id="{5B18FECC-33EA-427E-8401-066BB207BFF7}"/>
                </a:ext>
              </a:extLst>
            </p:cNvPr>
            <p:cNvSpPr/>
            <p:nvPr/>
          </p:nvSpPr>
          <p:spPr bwMode="auto">
            <a:xfrm>
              <a:off x="2967388" y="4337708"/>
              <a:ext cx="160466" cy="115721"/>
            </a:xfrm>
            <a:custGeom>
              <a:avLst/>
              <a:gdLst>
                <a:gd name="T0" fmla="*/ 42 w 44"/>
                <a:gd name="T1" fmla="*/ 16 h 32"/>
                <a:gd name="T2" fmla="*/ 27 w 44"/>
                <a:gd name="T3" fmla="*/ 0 h 32"/>
                <a:gd name="T4" fmla="*/ 3 w 44"/>
                <a:gd name="T5" fmla="*/ 16 h 32"/>
                <a:gd name="T6" fmla="*/ 17 w 44"/>
                <a:gd name="T7" fmla="*/ 32 h 32"/>
                <a:gd name="T8" fmla="*/ 42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2" y="16"/>
                  </a:moveTo>
                  <a:cubicBezTo>
                    <a:pt x="44" y="7"/>
                    <a:pt x="38" y="0"/>
                    <a:pt x="27" y="0"/>
                  </a:cubicBezTo>
                  <a:cubicBezTo>
                    <a:pt x="17" y="0"/>
                    <a:pt x="6" y="7"/>
                    <a:pt x="3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9" y="25"/>
                    <a:pt x="4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4" name="任意多边形: 形状 963">
              <a:extLst>
                <a:ext uri="{FF2B5EF4-FFF2-40B4-BE49-F238E27FC236}">
                  <a16:creationId xmlns:a16="http://schemas.microsoft.com/office/drawing/2014/main" id="{794444C1-87DE-4246-A956-3C6BE42EBCF3}"/>
                </a:ext>
              </a:extLst>
            </p:cNvPr>
            <p:cNvSpPr/>
            <p:nvPr/>
          </p:nvSpPr>
          <p:spPr bwMode="auto">
            <a:xfrm>
              <a:off x="3143284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2 w 44"/>
                <a:gd name="T5" fmla="*/ 16 h 32"/>
                <a:gd name="T6" fmla="*/ 17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2" y="16"/>
                  </a:cubicBezTo>
                  <a:cubicBezTo>
                    <a:pt x="0" y="25"/>
                    <a:pt x="6" y="32"/>
                    <a:pt x="17" y="32"/>
                  </a:cubicBezTo>
                  <a:cubicBezTo>
                    <a:pt x="28" y="32"/>
                    <a:pt x="38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5" name="任意多边形: 形状 964">
              <a:extLst>
                <a:ext uri="{FF2B5EF4-FFF2-40B4-BE49-F238E27FC236}">
                  <a16:creationId xmlns:a16="http://schemas.microsoft.com/office/drawing/2014/main" id="{06CDBADC-3FA0-415A-8F85-87C72F4CD181}"/>
                </a:ext>
              </a:extLst>
            </p:cNvPr>
            <p:cNvSpPr/>
            <p:nvPr/>
          </p:nvSpPr>
          <p:spPr bwMode="auto">
            <a:xfrm>
              <a:off x="3314551" y="4337708"/>
              <a:ext cx="160466" cy="115721"/>
            </a:xfrm>
            <a:custGeom>
              <a:avLst/>
              <a:gdLst>
                <a:gd name="T0" fmla="*/ 41 w 44"/>
                <a:gd name="T1" fmla="*/ 16 h 32"/>
                <a:gd name="T2" fmla="*/ 26 w 44"/>
                <a:gd name="T3" fmla="*/ 0 h 32"/>
                <a:gd name="T4" fmla="*/ 3 w 44"/>
                <a:gd name="T5" fmla="*/ 16 h 32"/>
                <a:gd name="T6" fmla="*/ 18 w 44"/>
                <a:gd name="T7" fmla="*/ 32 h 32"/>
                <a:gd name="T8" fmla="*/ 41 w 44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2">
                  <a:moveTo>
                    <a:pt x="41" y="16"/>
                  </a:moveTo>
                  <a:cubicBezTo>
                    <a:pt x="44" y="7"/>
                    <a:pt x="37" y="0"/>
                    <a:pt x="26" y="0"/>
                  </a:cubicBezTo>
                  <a:cubicBezTo>
                    <a:pt x="16" y="0"/>
                    <a:pt x="5" y="7"/>
                    <a:pt x="3" y="16"/>
                  </a:cubicBezTo>
                  <a:cubicBezTo>
                    <a:pt x="0" y="25"/>
                    <a:pt x="7" y="32"/>
                    <a:pt x="18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6" name="任意多边形: 形状 965">
              <a:extLst>
                <a:ext uri="{FF2B5EF4-FFF2-40B4-BE49-F238E27FC236}">
                  <a16:creationId xmlns:a16="http://schemas.microsoft.com/office/drawing/2014/main" id="{97553E0F-7EB1-4DA2-9CFB-88E607E2D039}"/>
                </a:ext>
              </a:extLst>
            </p:cNvPr>
            <p:cNvSpPr/>
            <p:nvPr/>
          </p:nvSpPr>
          <p:spPr bwMode="auto">
            <a:xfrm>
              <a:off x="3488904" y="4337708"/>
              <a:ext cx="157381" cy="115721"/>
            </a:xfrm>
            <a:custGeom>
              <a:avLst/>
              <a:gdLst>
                <a:gd name="T0" fmla="*/ 41 w 43"/>
                <a:gd name="T1" fmla="*/ 16 h 32"/>
                <a:gd name="T2" fmla="*/ 26 w 43"/>
                <a:gd name="T3" fmla="*/ 0 h 32"/>
                <a:gd name="T4" fmla="*/ 2 w 43"/>
                <a:gd name="T5" fmla="*/ 16 h 32"/>
                <a:gd name="T6" fmla="*/ 17 w 43"/>
                <a:gd name="T7" fmla="*/ 32 h 32"/>
                <a:gd name="T8" fmla="*/ 41 w 43"/>
                <a:gd name="T9" fmla="*/ 1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32">
                  <a:moveTo>
                    <a:pt x="41" y="16"/>
                  </a:moveTo>
                  <a:cubicBezTo>
                    <a:pt x="43" y="7"/>
                    <a:pt x="36" y="0"/>
                    <a:pt x="26" y="0"/>
                  </a:cubicBezTo>
                  <a:cubicBezTo>
                    <a:pt x="15" y="0"/>
                    <a:pt x="4" y="7"/>
                    <a:pt x="2" y="16"/>
                  </a:cubicBezTo>
                  <a:cubicBezTo>
                    <a:pt x="0" y="25"/>
                    <a:pt x="7" y="32"/>
                    <a:pt x="17" y="32"/>
                  </a:cubicBezTo>
                  <a:cubicBezTo>
                    <a:pt x="28" y="32"/>
                    <a:pt x="39" y="25"/>
                    <a:pt x="41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7" name="任意多边形: 形状 966">
              <a:extLst>
                <a:ext uri="{FF2B5EF4-FFF2-40B4-BE49-F238E27FC236}">
                  <a16:creationId xmlns:a16="http://schemas.microsoft.com/office/drawing/2014/main" id="{C5160F46-D6B3-4100-82C8-A057AF422F73}"/>
                </a:ext>
              </a:extLst>
            </p:cNvPr>
            <p:cNvSpPr/>
            <p:nvPr/>
          </p:nvSpPr>
          <p:spPr bwMode="auto">
            <a:xfrm>
              <a:off x="2745204" y="4479659"/>
              <a:ext cx="163552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8" name="任意多边形: 形状 967">
              <a:extLst>
                <a:ext uri="{FF2B5EF4-FFF2-40B4-BE49-F238E27FC236}">
                  <a16:creationId xmlns:a16="http://schemas.microsoft.com/office/drawing/2014/main" id="{47CC0978-909D-4955-B3E6-E6E20C6521C4}"/>
                </a:ext>
              </a:extLst>
            </p:cNvPr>
            <p:cNvSpPr/>
            <p:nvPr/>
          </p:nvSpPr>
          <p:spPr bwMode="auto">
            <a:xfrm>
              <a:off x="2919557" y="4479659"/>
              <a:ext cx="165096" cy="123436"/>
            </a:xfrm>
            <a:custGeom>
              <a:avLst/>
              <a:gdLst>
                <a:gd name="T0" fmla="*/ 42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7 w 45"/>
                <a:gd name="T7" fmla="*/ 34 h 34"/>
                <a:gd name="T8" fmla="*/ 42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2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6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9" name="任意多边形: 形状 968">
              <a:extLst>
                <a:ext uri="{FF2B5EF4-FFF2-40B4-BE49-F238E27FC236}">
                  <a16:creationId xmlns:a16="http://schemas.microsoft.com/office/drawing/2014/main" id="{A0553FC8-AFEA-4B87-A986-D5D668FDF957}"/>
                </a:ext>
              </a:extLst>
            </p:cNvPr>
            <p:cNvSpPr/>
            <p:nvPr/>
          </p:nvSpPr>
          <p:spPr bwMode="auto">
            <a:xfrm>
              <a:off x="3095452" y="4479659"/>
              <a:ext cx="163552" cy="123436"/>
            </a:xfrm>
            <a:custGeom>
              <a:avLst/>
              <a:gdLst>
                <a:gd name="T0" fmla="*/ 43 w 45"/>
                <a:gd name="T1" fmla="*/ 17 h 34"/>
                <a:gd name="T2" fmla="*/ 28 w 45"/>
                <a:gd name="T3" fmla="*/ 0 h 34"/>
                <a:gd name="T4" fmla="*/ 3 w 45"/>
                <a:gd name="T5" fmla="*/ 17 h 34"/>
                <a:gd name="T6" fmla="*/ 18 w 45"/>
                <a:gd name="T7" fmla="*/ 34 h 34"/>
                <a:gd name="T8" fmla="*/ 43 w 45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4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0" name="任意多边形: 形状 969">
              <a:extLst>
                <a:ext uri="{FF2B5EF4-FFF2-40B4-BE49-F238E27FC236}">
                  <a16:creationId xmlns:a16="http://schemas.microsoft.com/office/drawing/2014/main" id="{CD294D93-C6CF-4A43-BB77-F51E1A9BC779}"/>
                </a:ext>
              </a:extLst>
            </p:cNvPr>
            <p:cNvSpPr/>
            <p:nvPr/>
          </p:nvSpPr>
          <p:spPr bwMode="auto">
            <a:xfrm>
              <a:off x="3274434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2 w 44"/>
                <a:gd name="T5" fmla="*/ 17 h 34"/>
                <a:gd name="T6" fmla="*/ 17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2" y="17"/>
                  </a:cubicBezTo>
                  <a:cubicBezTo>
                    <a:pt x="0" y="26"/>
                    <a:pt x="7" y="34"/>
                    <a:pt x="17" y="34"/>
                  </a:cubicBezTo>
                  <a:cubicBezTo>
                    <a:pt x="28" y="34"/>
                    <a:pt x="39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1" name="任意多边形: 形状 970">
              <a:extLst>
                <a:ext uri="{FF2B5EF4-FFF2-40B4-BE49-F238E27FC236}">
                  <a16:creationId xmlns:a16="http://schemas.microsoft.com/office/drawing/2014/main" id="{7AE6A98D-4DC7-4EE7-9B32-50DC3DC78D3B}"/>
                </a:ext>
              </a:extLst>
            </p:cNvPr>
            <p:cNvSpPr/>
            <p:nvPr/>
          </p:nvSpPr>
          <p:spPr bwMode="auto">
            <a:xfrm>
              <a:off x="3448788" y="4479659"/>
              <a:ext cx="160466" cy="123436"/>
            </a:xfrm>
            <a:custGeom>
              <a:avLst/>
              <a:gdLst>
                <a:gd name="T0" fmla="*/ 42 w 44"/>
                <a:gd name="T1" fmla="*/ 17 h 34"/>
                <a:gd name="T2" fmla="*/ 27 w 44"/>
                <a:gd name="T3" fmla="*/ 0 h 34"/>
                <a:gd name="T4" fmla="*/ 3 w 44"/>
                <a:gd name="T5" fmla="*/ 17 h 34"/>
                <a:gd name="T6" fmla="*/ 18 w 44"/>
                <a:gd name="T7" fmla="*/ 34 h 34"/>
                <a:gd name="T8" fmla="*/ 42 w 44"/>
                <a:gd name="T9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34">
                  <a:moveTo>
                    <a:pt x="42" y="17"/>
                  </a:moveTo>
                  <a:cubicBezTo>
                    <a:pt x="44" y="8"/>
                    <a:pt x="37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6"/>
                    <a:pt x="7" y="34"/>
                    <a:pt x="18" y="34"/>
                  </a:cubicBezTo>
                  <a:cubicBezTo>
                    <a:pt x="29" y="34"/>
                    <a:pt x="40" y="26"/>
                    <a:pt x="42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2" name="任意多边形: 形状 971">
              <a:extLst>
                <a:ext uri="{FF2B5EF4-FFF2-40B4-BE49-F238E27FC236}">
                  <a16:creationId xmlns:a16="http://schemas.microsoft.com/office/drawing/2014/main" id="{B56C727A-1D49-4EC7-B32E-2F7E8321EE8B}"/>
                </a:ext>
              </a:extLst>
            </p:cNvPr>
            <p:cNvSpPr/>
            <p:nvPr/>
          </p:nvSpPr>
          <p:spPr bwMode="auto">
            <a:xfrm>
              <a:off x="2689658" y="4629324"/>
              <a:ext cx="171268" cy="128065"/>
            </a:xfrm>
            <a:custGeom>
              <a:avLst/>
              <a:gdLst>
                <a:gd name="T0" fmla="*/ 44 w 47"/>
                <a:gd name="T1" fmla="*/ 17 h 35"/>
                <a:gd name="T2" fmla="*/ 29 w 47"/>
                <a:gd name="T3" fmla="*/ 0 h 35"/>
                <a:gd name="T4" fmla="*/ 4 w 47"/>
                <a:gd name="T5" fmla="*/ 17 h 35"/>
                <a:gd name="T6" fmla="*/ 18 w 47"/>
                <a:gd name="T7" fmla="*/ 35 h 35"/>
                <a:gd name="T8" fmla="*/ 44 w 47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5">
                  <a:moveTo>
                    <a:pt x="44" y="17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7" y="8"/>
                    <a:pt x="4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1" y="27"/>
                    <a:pt x="44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3" name="任意多边形: 形状 972">
              <a:extLst>
                <a:ext uri="{FF2B5EF4-FFF2-40B4-BE49-F238E27FC236}">
                  <a16:creationId xmlns:a16="http://schemas.microsoft.com/office/drawing/2014/main" id="{C255888B-0AA3-4761-94B2-B98B812908F3}"/>
                </a:ext>
              </a:extLst>
            </p:cNvPr>
            <p:cNvSpPr/>
            <p:nvPr/>
          </p:nvSpPr>
          <p:spPr bwMode="auto">
            <a:xfrm>
              <a:off x="2873268" y="4629324"/>
              <a:ext cx="166638" cy="128065"/>
            </a:xfrm>
            <a:custGeom>
              <a:avLst/>
              <a:gdLst>
                <a:gd name="T0" fmla="*/ 43 w 46"/>
                <a:gd name="T1" fmla="*/ 17 h 35"/>
                <a:gd name="T2" fmla="*/ 28 w 46"/>
                <a:gd name="T3" fmla="*/ 0 h 35"/>
                <a:gd name="T4" fmla="*/ 3 w 46"/>
                <a:gd name="T5" fmla="*/ 17 h 35"/>
                <a:gd name="T6" fmla="*/ 17 w 46"/>
                <a:gd name="T7" fmla="*/ 35 h 35"/>
                <a:gd name="T8" fmla="*/ 43 w 46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5">
                  <a:moveTo>
                    <a:pt x="43" y="17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7" y="35"/>
                  </a:cubicBezTo>
                  <a:cubicBezTo>
                    <a:pt x="28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4" name="任意多边形: 形状 973">
              <a:extLst>
                <a:ext uri="{FF2B5EF4-FFF2-40B4-BE49-F238E27FC236}">
                  <a16:creationId xmlns:a16="http://schemas.microsoft.com/office/drawing/2014/main" id="{0B01E5A7-0296-4AE4-BCA4-E8CB379C0E22}"/>
                </a:ext>
              </a:extLst>
            </p:cNvPr>
            <p:cNvSpPr/>
            <p:nvPr/>
          </p:nvSpPr>
          <p:spPr bwMode="auto">
            <a:xfrm>
              <a:off x="3050707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8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9" y="0"/>
                    <a:pt x="28" y="0"/>
                  </a:cubicBezTo>
                  <a:cubicBezTo>
                    <a:pt x="17" y="0"/>
                    <a:pt x="6" y="8"/>
                    <a:pt x="3" y="17"/>
                  </a:cubicBezTo>
                  <a:cubicBezTo>
                    <a:pt x="0" y="27"/>
                    <a:pt x="6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5" name="任意多边形: 形状 974">
              <a:extLst>
                <a:ext uri="{FF2B5EF4-FFF2-40B4-BE49-F238E27FC236}">
                  <a16:creationId xmlns:a16="http://schemas.microsoft.com/office/drawing/2014/main" id="{80280488-3593-48CD-903E-BFF754880F52}"/>
                </a:ext>
              </a:extLst>
            </p:cNvPr>
            <p:cNvSpPr/>
            <p:nvPr/>
          </p:nvSpPr>
          <p:spPr bwMode="auto">
            <a:xfrm>
              <a:off x="3229689" y="4629324"/>
              <a:ext cx="165096" cy="128065"/>
            </a:xfrm>
            <a:custGeom>
              <a:avLst/>
              <a:gdLst>
                <a:gd name="T0" fmla="*/ 43 w 45"/>
                <a:gd name="T1" fmla="*/ 17 h 35"/>
                <a:gd name="T2" fmla="*/ 27 w 45"/>
                <a:gd name="T3" fmla="*/ 0 h 35"/>
                <a:gd name="T4" fmla="*/ 3 w 45"/>
                <a:gd name="T5" fmla="*/ 17 h 35"/>
                <a:gd name="T6" fmla="*/ 18 w 45"/>
                <a:gd name="T7" fmla="*/ 35 h 35"/>
                <a:gd name="T8" fmla="*/ 43 w 45"/>
                <a:gd name="T9" fmla="*/ 1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5">
                  <a:moveTo>
                    <a:pt x="43" y="17"/>
                  </a:moveTo>
                  <a:cubicBezTo>
                    <a:pt x="45" y="8"/>
                    <a:pt x="38" y="0"/>
                    <a:pt x="27" y="0"/>
                  </a:cubicBezTo>
                  <a:cubicBezTo>
                    <a:pt x="16" y="0"/>
                    <a:pt x="5" y="8"/>
                    <a:pt x="3" y="17"/>
                  </a:cubicBezTo>
                  <a:cubicBezTo>
                    <a:pt x="0" y="27"/>
                    <a:pt x="7" y="35"/>
                    <a:pt x="18" y="35"/>
                  </a:cubicBezTo>
                  <a:cubicBezTo>
                    <a:pt x="29" y="35"/>
                    <a:pt x="40" y="27"/>
                    <a:pt x="43" y="1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6" name="任意多边形: 形状 975">
              <a:extLst>
                <a:ext uri="{FF2B5EF4-FFF2-40B4-BE49-F238E27FC236}">
                  <a16:creationId xmlns:a16="http://schemas.microsoft.com/office/drawing/2014/main" id="{DCC5FA56-0BA3-4199-914B-3F6C038F44FD}"/>
                </a:ext>
              </a:extLst>
            </p:cNvPr>
            <p:cNvSpPr/>
            <p:nvPr/>
          </p:nvSpPr>
          <p:spPr bwMode="auto">
            <a:xfrm>
              <a:off x="2456673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30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1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8" y="36"/>
                    <a:pt x="40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7" name="任意多边形: 形状 976">
              <a:extLst>
                <a:ext uri="{FF2B5EF4-FFF2-40B4-BE49-F238E27FC236}">
                  <a16:creationId xmlns:a16="http://schemas.microsoft.com/office/drawing/2014/main" id="{CB880379-A315-4D77-B4A5-D84FDB1F27B9}"/>
                </a:ext>
              </a:extLst>
            </p:cNvPr>
            <p:cNvSpPr/>
            <p:nvPr/>
          </p:nvSpPr>
          <p:spPr bwMode="auto">
            <a:xfrm>
              <a:off x="2638740" y="4783619"/>
              <a:ext cx="171268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7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7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8" name="任意多边形: 形状 977">
              <a:extLst>
                <a:ext uri="{FF2B5EF4-FFF2-40B4-BE49-F238E27FC236}">
                  <a16:creationId xmlns:a16="http://schemas.microsoft.com/office/drawing/2014/main" id="{2BA70F1E-F20D-4E51-8D87-F64F0C7A7F45}"/>
                </a:ext>
              </a:extLst>
            </p:cNvPr>
            <p:cNvSpPr/>
            <p:nvPr/>
          </p:nvSpPr>
          <p:spPr bwMode="auto">
            <a:xfrm>
              <a:off x="2820808" y="4783619"/>
              <a:ext cx="172810" cy="131151"/>
            </a:xfrm>
            <a:custGeom>
              <a:avLst/>
              <a:gdLst>
                <a:gd name="T0" fmla="*/ 44 w 47"/>
                <a:gd name="T1" fmla="*/ 18 h 36"/>
                <a:gd name="T2" fmla="*/ 29 w 47"/>
                <a:gd name="T3" fmla="*/ 0 h 36"/>
                <a:gd name="T4" fmla="*/ 3 w 47"/>
                <a:gd name="T5" fmla="*/ 18 h 36"/>
                <a:gd name="T6" fmla="*/ 18 w 47"/>
                <a:gd name="T7" fmla="*/ 36 h 36"/>
                <a:gd name="T8" fmla="*/ 44 w 47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36">
                  <a:moveTo>
                    <a:pt x="44" y="18"/>
                  </a:moveTo>
                  <a:cubicBezTo>
                    <a:pt x="47" y="8"/>
                    <a:pt x="40" y="0"/>
                    <a:pt x="29" y="0"/>
                  </a:cubicBezTo>
                  <a:cubicBezTo>
                    <a:pt x="18" y="0"/>
                    <a:pt x="6" y="8"/>
                    <a:pt x="3" y="18"/>
                  </a:cubicBezTo>
                  <a:cubicBezTo>
                    <a:pt x="0" y="28"/>
                    <a:pt x="6" y="36"/>
                    <a:pt x="18" y="36"/>
                  </a:cubicBezTo>
                  <a:cubicBezTo>
                    <a:pt x="29" y="36"/>
                    <a:pt x="41" y="28"/>
                    <a:pt x="44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9" name="任意多边形: 形状 978">
              <a:extLst>
                <a:ext uri="{FF2B5EF4-FFF2-40B4-BE49-F238E27FC236}">
                  <a16:creationId xmlns:a16="http://schemas.microsoft.com/office/drawing/2014/main" id="{BD4DAB18-F33A-4A98-B906-940D9C41614A}"/>
                </a:ext>
              </a:extLst>
            </p:cNvPr>
            <p:cNvSpPr/>
            <p:nvPr/>
          </p:nvSpPr>
          <p:spPr bwMode="auto">
            <a:xfrm>
              <a:off x="3004419" y="4783619"/>
              <a:ext cx="166638" cy="131151"/>
            </a:xfrm>
            <a:custGeom>
              <a:avLst/>
              <a:gdLst>
                <a:gd name="T0" fmla="*/ 43 w 46"/>
                <a:gd name="T1" fmla="*/ 18 h 36"/>
                <a:gd name="T2" fmla="*/ 28 w 46"/>
                <a:gd name="T3" fmla="*/ 0 h 36"/>
                <a:gd name="T4" fmla="*/ 3 w 46"/>
                <a:gd name="T5" fmla="*/ 18 h 36"/>
                <a:gd name="T6" fmla="*/ 18 w 46"/>
                <a:gd name="T7" fmla="*/ 36 h 36"/>
                <a:gd name="T8" fmla="*/ 43 w 46"/>
                <a:gd name="T9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6">
                  <a:moveTo>
                    <a:pt x="43" y="18"/>
                  </a:moveTo>
                  <a:cubicBezTo>
                    <a:pt x="46" y="8"/>
                    <a:pt x="39" y="0"/>
                    <a:pt x="28" y="0"/>
                  </a:cubicBezTo>
                  <a:cubicBezTo>
                    <a:pt x="17" y="0"/>
                    <a:pt x="6" y="8"/>
                    <a:pt x="3" y="18"/>
                  </a:cubicBezTo>
                  <a:cubicBezTo>
                    <a:pt x="0" y="28"/>
                    <a:pt x="7" y="36"/>
                    <a:pt x="18" y="36"/>
                  </a:cubicBezTo>
                  <a:cubicBezTo>
                    <a:pt x="29" y="36"/>
                    <a:pt x="41" y="28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0" name="任意多边形: 形状 979">
              <a:extLst>
                <a:ext uri="{FF2B5EF4-FFF2-40B4-BE49-F238E27FC236}">
                  <a16:creationId xmlns:a16="http://schemas.microsoft.com/office/drawing/2014/main" id="{E8499C13-FD95-4C91-A470-EED0783421D5}"/>
                </a:ext>
              </a:extLst>
            </p:cNvPr>
            <p:cNvSpPr/>
            <p:nvPr/>
          </p:nvSpPr>
          <p:spPr bwMode="auto">
            <a:xfrm>
              <a:off x="2398041" y="4944086"/>
              <a:ext cx="175896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3 w 48"/>
                <a:gd name="T5" fmla="*/ 18 h 37"/>
                <a:gd name="T6" fmla="*/ 17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2" y="0"/>
                    <a:pt x="30" y="0"/>
                  </a:cubicBezTo>
                  <a:cubicBezTo>
                    <a:pt x="19" y="0"/>
                    <a:pt x="7" y="8"/>
                    <a:pt x="3" y="18"/>
                  </a:cubicBezTo>
                  <a:cubicBezTo>
                    <a:pt x="0" y="29"/>
                    <a:pt x="6" y="37"/>
                    <a:pt x="17" y="37"/>
                  </a:cubicBezTo>
                  <a:cubicBezTo>
                    <a:pt x="29" y="37"/>
                    <a:pt x="41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1" name="任意多边形: 形状 980">
              <a:extLst>
                <a:ext uri="{FF2B5EF4-FFF2-40B4-BE49-F238E27FC236}">
                  <a16:creationId xmlns:a16="http://schemas.microsoft.com/office/drawing/2014/main" id="{A77BF133-0AA1-4366-B47F-B3E1645E73FD}"/>
                </a:ext>
              </a:extLst>
            </p:cNvPr>
            <p:cNvSpPr/>
            <p:nvPr/>
          </p:nvSpPr>
          <p:spPr bwMode="auto">
            <a:xfrm>
              <a:off x="2580108" y="4944086"/>
              <a:ext cx="178982" cy="134237"/>
            </a:xfrm>
            <a:custGeom>
              <a:avLst/>
              <a:gdLst>
                <a:gd name="T0" fmla="*/ 45 w 49"/>
                <a:gd name="T1" fmla="*/ 18 h 37"/>
                <a:gd name="T2" fmla="*/ 31 w 49"/>
                <a:gd name="T3" fmla="*/ 0 h 37"/>
                <a:gd name="T4" fmla="*/ 4 w 49"/>
                <a:gd name="T5" fmla="*/ 18 h 37"/>
                <a:gd name="T6" fmla="*/ 18 w 49"/>
                <a:gd name="T7" fmla="*/ 37 h 37"/>
                <a:gd name="T8" fmla="*/ 45 w 49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7">
                  <a:moveTo>
                    <a:pt x="45" y="18"/>
                  </a:moveTo>
                  <a:cubicBezTo>
                    <a:pt x="49" y="8"/>
                    <a:pt x="42" y="0"/>
                    <a:pt x="31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8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2" name="任意多边形: 形状 981">
              <a:extLst>
                <a:ext uri="{FF2B5EF4-FFF2-40B4-BE49-F238E27FC236}">
                  <a16:creationId xmlns:a16="http://schemas.microsoft.com/office/drawing/2014/main" id="{6FD065E4-C151-42D6-A290-7EC6530AC7B2}"/>
                </a:ext>
              </a:extLst>
            </p:cNvPr>
            <p:cNvSpPr/>
            <p:nvPr/>
          </p:nvSpPr>
          <p:spPr bwMode="auto">
            <a:xfrm>
              <a:off x="2766805" y="4944086"/>
              <a:ext cx="174353" cy="134237"/>
            </a:xfrm>
            <a:custGeom>
              <a:avLst/>
              <a:gdLst>
                <a:gd name="T0" fmla="*/ 45 w 48"/>
                <a:gd name="T1" fmla="*/ 18 h 37"/>
                <a:gd name="T2" fmla="*/ 30 w 48"/>
                <a:gd name="T3" fmla="*/ 0 h 37"/>
                <a:gd name="T4" fmla="*/ 4 w 48"/>
                <a:gd name="T5" fmla="*/ 18 h 37"/>
                <a:gd name="T6" fmla="*/ 19 w 48"/>
                <a:gd name="T7" fmla="*/ 37 h 37"/>
                <a:gd name="T8" fmla="*/ 45 w 48"/>
                <a:gd name="T9" fmla="*/ 18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" h="37">
                  <a:moveTo>
                    <a:pt x="45" y="18"/>
                  </a:moveTo>
                  <a:cubicBezTo>
                    <a:pt x="48" y="8"/>
                    <a:pt x="41" y="0"/>
                    <a:pt x="30" y="0"/>
                  </a:cubicBezTo>
                  <a:cubicBezTo>
                    <a:pt x="19" y="0"/>
                    <a:pt x="7" y="8"/>
                    <a:pt x="4" y="18"/>
                  </a:cubicBezTo>
                  <a:cubicBezTo>
                    <a:pt x="0" y="29"/>
                    <a:pt x="7" y="37"/>
                    <a:pt x="19" y="37"/>
                  </a:cubicBezTo>
                  <a:cubicBezTo>
                    <a:pt x="30" y="37"/>
                    <a:pt x="42" y="29"/>
                    <a:pt x="45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3" name="任意多边形: 形状 982">
              <a:extLst>
                <a:ext uri="{FF2B5EF4-FFF2-40B4-BE49-F238E27FC236}">
                  <a16:creationId xmlns:a16="http://schemas.microsoft.com/office/drawing/2014/main" id="{4A19C7C8-D851-47DD-A048-CE6DC3B4CFA6}"/>
                </a:ext>
              </a:extLst>
            </p:cNvPr>
            <p:cNvSpPr/>
            <p:nvPr/>
          </p:nvSpPr>
          <p:spPr bwMode="auto">
            <a:xfrm>
              <a:off x="2336323" y="5107638"/>
              <a:ext cx="178982" cy="138865"/>
            </a:xfrm>
            <a:custGeom>
              <a:avLst/>
              <a:gdLst>
                <a:gd name="T0" fmla="*/ 46 w 49"/>
                <a:gd name="T1" fmla="*/ 19 h 38"/>
                <a:gd name="T2" fmla="*/ 31 w 49"/>
                <a:gd name="T3" fmla="*/ 0 h 38"/>
                <a:gd name="T4" fmla="*/ 4 w 49"/>
                <a:gd name="T5" fmla="*/ 19 h 38"/>
                <a:gd name="T6" fmla="*/ 18 w 49"/>
                <a:gd name="T7" fmla="*/ 38 h 38"/>
                <a:gd name="T8" fmla="*/ 46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6" y="19"/>
                  </a:moveTo>
                  <a:cubicBezTo>
                    <a:pt x="49" y="9"/>
                    <a:pt x="43" y="0"/>
                    <a:pt x="31" y="0"/>
                  </a:cubicBezTo>
                  <a:cubicBezTo>
                    <a:pt x="20" y="0"/>
                    <a:pt x="7" y="9"/>
                    <a:pt x="4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6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4" name="任意多边形: 形状 983">
              <a:extLst>
                <a:ext uri="{FF2B5EF4-FFF2-40B4-BE49-F238E27FC236}">
                  <a16:creationId xmlns:a16="http://schemas.microsoft.com/office/drawing/2014/main" id="{295F1CC1-9DD9-4A6A-9F2B-9D48499F3C39}"/>
                </a:ext>
              </a:extLst>
            </p:cNvPr>
            <p:cNvSpPr/>
            <p:nvPr/>
          </p:nvSpPr>
          <p:spPr bwMode="auto">
            <a:xfrm>
              <a:off x="2526106" y="5107638"/>
              <a:ext cx="178982" cy="138865"/>
            </a:xfrm>
            <a:custGeom>
              <a:avLst/>
              <a:gdLst>
                <a:gd name="T0" fmla="*/ 45 w 49"/>
                <a:gd name="T1" fmla="*/ 19 h 38"/>
                <a:gd name="T2" fmla="*/ 31 w 49"/>
                <a:gd name="T3" fmla="*/ 0 h 38"/>
                <a:gd name="T4" fmla="*/ 3 w 49"/>
                <a:gd name="T5" fmla="*/ 19 h 38"/>
                <a:gd name="T6" fmla="*/ 18 w 49"/>
                <a:gd name="T7" fmla="*/ 38 h 38"/>
                <a:gd name="T8" fmla="*/ 45 w 49"/>
                <a:gd name="T9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38">
                  <a:moveTo>
                    <a:pt x="45" y="19"/>
                  </a:moveTo>
                  <a:cubicBezTo>
                    <a:pt x="49" y="9"/>
                    <a:pt x="42" y="0"/>
                    <a:pt x="31" y="0"/>
                  </a:cubicBezTo>
                  <a:cubicBezTo>
                    <a:pt x="19" y="0"/>
                    <a:pt x="7" y="9"/>
                    <a:pt x="3" y="19"/>
                  </a:cubicBezTo>
                  <a:cubicBezTo>
                    <a:pt x="0" y="30"/>
                    <a:pt x="6" y="38"/>
                    <a:pt x="18" y="38"/>
                  </a:cubicBezTo>
                  <a:cubicBezTo>
                    <a:pt x="30" y="38"/>
                    <a:pt x="42" y="30"/>
                    <a:pt x="45" y="1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5" name="任意多边形: 形状 984">
              <a:extLst>
                <a:ext uri="{FF2B5EF4-FFF2-40B4-BE49-F238E27FC236}">
                  <a16:creationId xmlns:a16="http://schemas.microsoft.com/office/drawing/2014/main" id="{D668C4DB-DB58-4F7F-9AED-61611CED2CD1}"/>
                </a:ext>
              </a:extLst>
            </p:cNvPr>
            <p:cNvSpPr/>
            <p:nvPr/>
          </p:nvSpPr>
          <p:spPr bwMode="auto">
            <a:xfrm>
              <a:off x="2274605" y="5280448"/>
              <a:ext cx="182068" cy="145037"/>
            </a:xfrm>
            <a:custGeom>
              <a:avLst/>
              <a:gdLst>
                <a:gd name="T0" fmla="*/ 46 w 50"/>
                <a:gd name="T1" fmla="*/ 20 h 40"/>
                <a:gd name="T2" fmla="*/ 32 w 50"/>
                <a:gd name="T3" fmla="*/ 0 h 40"/>
                <a:gd name="T4" fmla="*/ 4 w 50"/>
                <a:gd name="T5" fmla="*/ 20 h 40"/>
                <a:gd name="T6" fmla="*/ 18 w 50"/>
                <a:gd name="T7" fmla="*/ 40 h 40"/>
                <a:gd name="T8" fmla="*/ 46 w 50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0" h="40">
                  <a:moveTo>
                    <a:pt x="46" y="20"/>
                  </a:moveTo>
                  <a:cubicBezTo>
                    <a:pt x="50" y="9"/>
                    <a:pt x="44" y="0"/>
                    <a:pt x="32" y="0"/>
                  </a:cubicBezTo>
                  <a:cubicBezTo>
                    <a:pt x="20" y="0"/>
                    <a:pt x="7" y="9"/>
                    <a:pt x="4" y="20"/>
                  </a:cubicBezTo>
                  <a:cubicBezTo>
                    <a:pt x="0" y="31"/>
                    <a:pt x="6" y="40"/>
                    <a:pt x="18" y="40"/>
                  </a:cubicBezTo>
                  <a:cubicBezTo>
                    <a:pt x="30" y="40"/>
                    <a:pt x="43" y="31"/>
                    <a:pt x="46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6" name="任意多边形: 形状 985">
              <a:extLst>
                <a:ext uri="{FF2B5EF4-FFF2-40B4-BE49-F238E27FC236}">
                  <a16:creationId xmlns:a16="http://schemas.microsoft.com/office/drawing/2014/main" id="{803FCB8D-91BA-4FAA-AB82-EC69CCA58B6D}"/>
                </a:ext>
              </a:extLst>
            </p:cNvPr>
            <p:cNvSpPr/>
            <p:nvPr/>
          </p:nvSpPr>
          <p:spPr bwMode="auto">
            <a:xfrm>
              <a:off x="2464388" y="5280448"/>
              <a:ext cx="185154" cy="145037"/>
            </a:xfrm>
            <a:custGeom>
              <a:avLst/>
              <a:gdLst>
                <a:gd name="T0" fmla="*/ 47 w 51"/>
                <a:gd name="T1" fmla="*/ 20 h 40"/>
                <a:gd name="T2" fmla="*/ 32 w 51"/>
                <a:gd name="T3" fmla="*/ 0 h 40"/>
                <a:gd name="T4" fmla="*/ 4 w 51"/>
                <a:gd name="T5" fmla="*/ 20 h 40"/>
                <a:gd name="T6" fmla="*/ 19 w 51"/>
                <a:gd name="T7" fmla="*/ 40 h 40"/>
                <a:gd name="T8" fmla="*/ 47 w 51"/>
                <a:gd name="T9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0">
                  <a:moveTo>
                    <a:pt x="47" y="20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8" y="9"/>
                    <a:pt x="4" y="20"/>
                  </a:cubicBezTo>
                  <a:cubicBezTo>
                    <a:pt x="0" y="31"/>
                    <a:pt x="7" y="40"/>
                    <a:pt x="19" y="40"/>
                  </a:cubicBezTo>
                  <a:cubicBezTo>
                    <a:pt x="31" y="40"/>
                    <a:pt x="43" y="31"/>
                    <a:pt x="47" y="2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7" name="任意多边形: 形状 986">
              <a:extLst>
                <a:ext uri="{FF2B5EF4-FFF2-40B4-BE49-F238E27FC236}">
                  <a16:creationId xmlns:a16="http://schemas.microsoft.com/office/drawing/2014/main" id="{29AAAE62-C2D4-4A60-944F-E2ED5D1CD6EC}"/>
                </a:ext>
              </a:extLst>
            </p:cNvPr>
            <p:cNvSpPr/>
            <p:nvPr/>
          </p:nvSpPr>
          <p:spPr bwMode="auto">
            <a:xfrm>
              <a:off x="2208259" y="5454801"/>
              <a:ext cx="186697" cy="154295"/>
            </a:xfrm>
            <a:custGeom>
              <a:avLst/>
              <a:gdLst>
                <a:gd name="T0" fmla="*/ 47 w 51"/>
                <a:gd name="T1" fmla="*/ 21 h 42"/>
                <a:gd name="T2" fmla="*/ 33 w 51"/>
                <a:gd name="T3" fmla="*/ 0 h 42"/>
                <a:gd name="T4" fmla="*/ 4 w 51"/>
                <a:gd name="T5" fmla="*/ 21 h 42"/>
                <a:gd name="T6" fmla="*/ 18 w 51"/>
                <a:gd name="T7" fmla="*/ 42 h 42"/>
                <a:gd name="T8" fmla="*/ 47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7" y="21"/>
                  </a:moveTo>
                  <a:cubicBezTo>
                    <a:pt x="51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6" y="42"/>
                    <a:pt x="18" y="42"/>
                  </a:cubicBezTo>
                  <a:cubicBezTo>
                    <a:pt x="30" y="42"/>
                    <a:pt x="44" y="32"/>
                    <a:pt x="47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8" name="任意多边形: 形状 987">
              <a:extLst>
                <a:ext uri="{FF2B5EF4-FFF2-40B4-BE49-F238E27FC236}">
                  <a16:creationId xmlns:a16="http://schemas.microsoft.com/office/drawing/2014/main" id="{5FCF2441-3176-4427-A2A8-4E09448CF2AF}"/>
                </a:ext>
              </a:extLst>
            </p:cNvPr>
            <p:cNvSpPr/>
            <p:nvPr/>
          </p:nvSpPr>
          <p:spPr bwMode="auto">
            <a:xfrm>
              <a:off x="2401126" y="5454801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10"/>
                    <a:pt x="45" y="0"/>
                    <a:pt x="33" y="0"/>
                  </a:cubicBezTo>
                  <a:cubicBezTo>
                    <a:pt x="21" y="0"/>
                    <a:pt x="8" y="10"/>
                    <a:pt x="4" y="21"/>
                  </a:cubicBezTo>
                  <a:cubicBezTo>
                    <a:pt x="0" y="32"/>
                    <a:pt x="7" y="42"/>
                    <a:pt x="19" y="42"/>
                  </a:cubicBezTo>
                  <a:cubicBezTo>
                    <a:pt x="31" y="42"/>
                    <a:pt x="44" y="32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9" name="任意多边形: 形状 988">
              <a:extLst>
                <a:ext uri="{FF2B5EF4-FFF2-40B4-BE49-F238E27FC236}">
                  <a16:creationId xmlns:a16="http://schemas.microsoft.com/office/drawing/2014/main" id="{868A514D-BF60-409A-B0AE-A6A469B181D1}"/>
                </a:ext>
              </a:extLst>
            </p:cNvPr>
            <p:cNvSpPr/>
            <p:nvPr/>
          </p:nvSpPr>
          <p:spPr bwMode="auto">
            <a:xfrm>
              <a:off x="2138826" y="5641497"/>
              <a:ext cx="194411" cy="154295"/>
            </a:xfrm>
            <a:custGeom>
              <a:avLst/>
              <a:gdLst>
                <a:gd name="T0" fmla="*/ 49 w 53"/>
                <a:gd name="T1" fmla="*/ 21 h 42"/>
                <a:gd name="T2" fmla="*/ 34 w 53"/>
                <a:gd name="T3" fmla="*/ 0 h 42"/>
                <a:gd name="T4" fmla="*/ 4 w 53"/>
                <a:gd name="T5" fmla="*/ 21 h 42"/>
                <a:gd name="T6" fmla="*/ 19 w 53"/>
                <a:gd name="T7" fmla="*/ 42 h 42"/>
                <a:gd name="T8" fmla="*/ 49 w 53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3" h="42">
                  <a:moveTo>
                    <a:pt x="49" y="21"/>
                  </a:moveTo>
                  <a:cubicBezTo>
                    <a:pt x="53" y="9"/>
                    <a:pt x="46" y="0"/>
                    <a:pt x="34" y="0"/>
                  </a:cubicBezTo>
                  <a:cubicBezTo>
                    <a:pt x="22" y="0"/>
                    <a:pt x="9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9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0" name="任意多边形: 形状 989">
              <a:extLst>
                <a:ext uri="{FF2B5EF4-FFF2-40B4-BE49-F238E27FC236}">
                  <a16:creationId xmlns:a16="http://schemas.microsoft.com/office/drawing/2014/main" id="{9C133285-6561-4166-AA55-FACF85B5158B}"/>
                </a:ext>
              </a:extLst>
            </p:cNvPr>
            <p:cNvSpPr/>
            <p:nvPr/>
          </p:nvSpPr>
          <p:spPr bwMode="auto">
            <a:xfrm>
              <a:off x="2339409" y="5641497"/>
              <a:ext cx="189783" cy="154295"/>
            </a:xfrm>
            <a:custGeom>
              <a:avLst/>
              <a:gdLst>
                <a:gd name="T0" fmla="*/ 48 w 52"/>
                <a:gd name="T1" fmla="*/ 21 h 42"/>
                <a:gd name="T2" fmla="*/ 33 w 52"/>
                <a:gd name="T3" fmla="*/ 0 h 42"/>
                <a:gd name="T4" fmla="*/ 4 w 52"/>
                <a:gd name="T5" fmla="*/ 21 h 42"/>
                <a:gd name="T6" fmla="*/ 19 w 52"/>
                <a:gd name="T7" fmla="*/ 42 h 42"/>
                <a:gd name="T8" fmla="*/ 48 w 52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42">
                  <a:moveTo>
                    <a:pt x="48" y="21"/>
                  </a:moveTo>
                  <a:cubicBezTo>
                    <a:pt x="52" y="9"/>
                    <a:pt x="45" y="0"/>
                    <a:pt x="33" y="0"/>
                  </a:cubicBezTo>
                  <a:cubicBezTo>
                    <a:pt x="21" y="0"/>
                    <a:pt x="8" y="9"/>
                    <a:pt x="4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5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1" name="任意多边形: 形状 990">
              <a:extLst>
                <a:ext uri="{FF2B5EF4-FFF2-40B4-BE49-F238E27FC236}">
                  <a16:creationId xmlns:a16="http://schemas.microsoft.com/office/drawing/2014/main" id="{41D6BD83-F2D2-4FAF-9109-D1DE32DF747E}"/>
                </a:ext>
              </a:extLst>
            </p:cNvPr>
            <p:cNvSpPr/>
            <p:nvPr/>
          </p:nvSpPr>
          <p:spPr bwMode="auto">
            <a:xfrm>
              <a:off x="2539992" y="5641497"/>
              <a:ext cx="186697" cy="154295"/>
            </a:xfrm>
            <a:custGeom>
              <a:avLst/>
              <a:gdLst>
                <a:gd name="T0" fmla="*/ 48 w 51"/>
                <a:gd name="T1" fmla="*/ 21 h 42"/>
                <a:gd name="T2" fmla="*/ 32 w 51"/>
                <a:gd name="T3" fmla="*/ 0 h 42"/>
                <a:gd name="T4" fmla="*/ 3 w 51"/>
                <a:gd name="T5" fmla="*/ 21 h 42"/>
                <a:gd name="T6" fmla="*/ 19 w 51"/>
                <a:gd name="T7" fmla="*/ 42 h 42"/>
                <a:gd name="T8" fmla="*/ 48 w 51"/>
                <a:gd name="T9" fmla="*/ 2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1" h="42">
                  <a:moveTo>
                    <a:pt x="48" y="21"/>
                  </a:moveTo>
                  <a:cubicBezTo>
                    <a:pt x="51" y="9"/>
                    <a:pt x="44" y="0"/>
                    <a:pt x="32" y="0"/>
                  </a:cubicBezTo>
                  <a:cubicBezTo>
                    <a:pt x="20" y="0"/>
                    <a:pt x="7" y="9"/>
                    <a:pt x="3" y="21"/>
                  </a:cubicBezTo>
                  <a:cubicBezTo>
                    <a:pt x="0" y="33"/>
                    <a:pt x="7" y="42"/>
                    <a:pt x="19" y="42"/>
                  </a:cubicBezTo>
                  <a:cubicBezTo>
                    <a:pt x="31" y="42"/>
                    <a:pt x="44" y="33"/>
                    <a:pt x="48" y="2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7" name="六边形 6">
            <a:extLst>
              <a:ext uri="{FF2B5EF4-FFF2-40B4-BE49-F238E27FC236}">
                <a16:creationId xmlns:a16="http://schemas.microsoft.com/office/drawing/2014/main" id="{D5345DCC-5E92-4946-95CE-F432B0DB4C68}"/>
              </a:ext>
            </a:extLst>
          </p:cNvPr>
          <p:cNvSpPr/>
          <p:nvPr/>
        </p:nvSpPr>
        <p:spPr>
          <a:xfrm>
            <a:off x="2162654" y="2626705"/>
            <a:ext cx="1728270" cy="100734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2DD5CF63-0FA1-4672-8D4D-D22FBC2938F3}"/>
              </a:ext>
            </a:extLst>
          </p:cNvPr>
          <p:cNvSpPr/>
          <p:nvPr/>
        </p:nvSpPr>
        <p:spPr>
          <a:xfrm rot="16200000">
            <a:off x="1541641" y="2764755"/>
            <a:ext cx="1002891" cy="731243"/>
          </a:xfrm>
          <a:custGeom>
            <a:avLst/>
            <a:gdLst>
              <a:gd name="connsiteX0" fmla="*/ 0 w 1094260"/>
              <a:gd name="connsiteY0" fmla="*/ 819478 h 819478"/>
              <a:gd name="connsiteX1" fmla="*/ 204870 w 1094260"/>
              <a:gd name="connsiteY1" fmla="*/ 0 h 819478"/>
              <a:gd name="connsiteX2" fmla="*/ 889391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  <a:gd name="connsiteX0" fmla="*/ 0 w 1094260"/>
              <a:gd name="connsiteY0" fmla="*/ 819478 h 819478"/>
              <a:gd name="connsiteX1" fmla="*/ 204870 w 1094260"/>
              <a:gd name="connsiteY1" fmla="*/ 0 h 819478"/>
              <a:gd name="connsiteX2" fmla="*/ 816820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  <a:gd name="connsiteX0" fmla="*/ 0 w 1094260"/>
              <a:gd name="connsiteY0" fmla="*/ 819478 h 819478"/>
              <a:gd name="connsiteX1" fmla="*/ 262927 w 1094260"/>
              <a:gd name="connsiteY1" fmla="*/ 0 h 819478"/>
              <a:gd name="connsiteX2" fmla="*/ 816820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260" h="819478">
                <a:moveTo>
                  <a:pt x="0" y="819478"/>
                </a:moveTo>
                <a:lnTo>
                  <a:pt x="262927" y="0"/>
                </a:lnTo>
                <a:lnTo>
                  <a:pt x="816820" y="0"/>
                </a:lnTo>
                <a:lnTo>
                  <a:pt x="1094260" y="819478"/>
                </a:lnTo>
                <a:lnTo>
                  <a:pt x="0" y="819478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57B23893-50AA-478D-B967-5C26EDC70566}"/>
              </a:ext>
            </a:extLst>
          </p:cNvPr>
          <p:cNvSpPr/>
          <p:nvPr/>
        </p:nvSpPr>
        <p:spPr>
          <a:xfrm>
            <a:off x="656373" y="2883886"/>
            <a:ext cx="1021093" cy="5164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六边形 9">
            <a:extLst>
              <a:ext uri="{FF2B5EF4-FFF2-40B4-BE49-F238E27FC236}">
                <a16:creationId xmlns:a16="http://schemas.microsoft.com/office/drawing/2014/main" id="{57156C46-33B8-4309-B3BB-2A972A6097EF}"/>
              </a:ext>
            </a:extLst>
          </p:cNvPr>
          <p:cNvSpPr/>
          <p:nvPr/>
        </p:nvSpPr>
        <p:spPr>
          <a:xfrm>
            <a:off x="3701021" y="4202831"/>
            <a:ext cx="1728270" cy="100734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六边形 10">
            <a:extLst>
              <a:ext uri="{FF2B5EF4-FFF2-40B4-BE49-F238E27FC236}">
                <a16:creationId xmlns:a16="http://schemas.microsoft.com/office/drawing/2014/main" id="{6C61BC32-5724-4D52-886F-072E4B8B5730}"/>
              </a:ext>
            </a:extLst>
          </p:cNvPr>
          <p:cNvSpPr/>
          <p:nvPr/>
        </p:nvSpPr>
        <p:spPr>
          <a:xfrm>
            <a:off x="3700383" y="3134878"/>
            <a:ext cx="1728270" cy="100734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六边形 11">
            <a:extLst>
              <a:ext uri="{FF2B5EF4-FFF2-40B4-BE49-F238E27FC236}">
                <a16:creationId xmlns:a16="http://schemas.microsoft.com/office/drawing/2014/main" id="{49163CC4-81CA-440D-88F1-4DC1AD0770BD}"/>
              </a:ext>
            </a:extLst>
          </p:cNvPr>
          <p:cNvSpPr/>
          <p:nvPr/>
        </p:nvSpPr>
        <p:spPr>
          <a:xfrm>
            <a:off x="5231866" y="3668855"/>
            <a:ext cx="1728270" cy="1007344"/>
          </a:xfrm>
          <a:prstGeom prst="hexag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tx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tx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六边形 12">
            <a:extLst>
              <a:ext uri="{FF2B5EF4-FFF2-40B4-BE49-F238E27FC236}">
                <a16:creationId xmlns:a16="http://schemas.microsoft.com/office/drawing/2014/main" id="{D5345DCC-5E92-4946-95CE-F432B0DB4C68}"/>
              </a:ext>
            </a:extLst>
          </p:cNvPr>
          <p:cNvSpPr/>
          <p:nvPr/>
        </p:nvSpPr>
        <p:spPr>
          <a:xfrm flipH="1">
            <a:off x="8301075" y="2600902"/>
            <a:ext cx="1728270" cy="100734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2DD5CF63-0FA1-4672-8D4D-D22FBC2938F3}"/>
              </a:ext>
            </a:extLst>
          </p:cNvPr>
          <p:cNvSpPr/>
          <p:nvPr/>
        </p:nvSpPr>
        <p:spPr>
          <a:xfrm rot="5400000" flipH="1">
            <a:off x="9647468" y="2738952"/>
            <a:ext cx="1002891" cy="731243"/>
          </a:xfrm>
          <a:custGeom>
            <a:avLst/>
            <a:gdLst>
              <a:gd name="connsiteX0" fmla="*/ 0 w 1094260"/>
              <a:gd name="connsiteY0" fmla="*/ 819478 h 819478"/>
              <a:gd name="connsiteX1" fmla="*/ 204870 w 1094260"/>
              <a:gd name="connsiteY1" fmla="*/ 0 h 819478"/>
              <a:gd name="connsiteX2" fmla="*/ 889391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  <a:gd name="connsiteX0" fmla="*/ 0 w 1094260"/>
              <a:gd name="connsiteY0" fmla="*/ 819478 h 819478"/>
              <a:gd name="connsiteX1" fmla="*/ 204870 w 1094260"/>
              <a:gd name="connsiteY1" fmla="*/ 0 h 819478"/>
              <a:gd name="connsiteX2" fmla="*/ 816820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  <a:gd name="connsiteX0" fmla="*/ 0 w 1094260"/>
              <a:gd name="connsiteY0" fmla="*/ 819478 h 819478"/>
              <a:gd name="connsiteX1" fmla="*/ 262927 w 1094260"/>
              <a:gd name="connsiteY1" fmla="*/ 0 h 819478"/>
              <a:gd name="connsiteX2" fmla="*/ 816820 w 1094260"/>
              <a:gd name="connsiteY2" fmla="*/ 0 h 819478"/>
              <a:gd name="connsiteX3" fmla="*/ 1094260 w 1094260"/>
              <a:gd name="connsiteY3" fmla="*/ 819478 h 819478"/>
              <a:gd name="connsiteX4" fmla="*/ 0 w 1094260"/>
              <a:gd name="connsiteY4" fmla="*/ 819478 h 81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260" h="819478">
                <a:moveTo>
                  <a:pt x="0" y="819478"/>
                </a:moveTo>
                <a:lnTo>
                  <a:pt x="262927" y="0"/>
                </a:lnTo>
                <a:lnTo>
                  <a:pt x="816820" y="0"/>
                </a:lnTo>
                <a:lnTo>
                  <a:pt x="1094260" y="819478"/>
                </a:lnTo>
                <a:lnTo>
                  <a:pt x="0" y="819478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57B23893-50AA-478D-B967-5C26EDC70566}"/>
              </a:ext>
            </a:extLst>
          </p:cNvPr>
          <p:cNvSpPr/>
          <p:nvPr/>
        </p:nvSpPr>
        <p:spPr>
          <a:xfrm flipH="1">
            <a:off x="10514534" y="2858083"/>
            <a:ext cx="1021093" cy="5164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六边形 15">
            <a:extLst>
              <a:ext uri="{FF2B5EF4-FFF2-40B4-BE49-F238E27FC236}">
                <a16:creationId xmlns:a16="http://schemas.microsoft.com/office/drawing/2014/main" id="{57156C46-33B8-4309-B3BB-2A972A6097EF}"/>
              </a:ext>
            </a:extLst>
          </p:cNvPr>
          <p:cNvSpPr/>
          <p:nvPr/>
        </p:nvSpPr>
        <p:spPr>
          <a:xfrm flipH="1">
            <a:off x="6763346" y="3134878"/>
            <a:ext cx="1728270" cy="100734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六边形 16">
            <a:extLst>
              <a:ext uri="{FF2B5EF4-FFF2-40B4-BE49-F238E27FC236}">
                <a16:creationId xmlns:a16="http://schemas.microsoft.com/office/drawing/2014/main" id="{6C61BC32-5724-4D52-886F-072E4B8B5730}"/>
              </a:ext>
            </a:extLst>
          </p:cNvPr>
          <p:cNvSpPr/>
          <p:nvPr/>
        </p:nvSpPr>
        <p:spPr>
          <a:xfrm flipH="1">
            <a:off x="6763346" y="2066925"/>
            <a:ext cx="1728270" cy="1007344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 i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000" b="1" i="1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26D062BC-2AA4-437C-A302-B9059DF50DAB}"/>
              </a:ext>
            </a:extLst>
          </p:cNvPr>
          <p:cNvSpPr/>
          <p:nvPr/>
        </p:nvSpPr>
        <p:spPr bwMode="auto">
          <a:xfrm>
            <a:off x="6624266" y="1127551"/>
            <a:ext cx="2006431" cy="85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</a:t>
            </a:r>
            <a:r>
              <a:rPr lang="en-US" altLang="zh-CN" sz="1100">
                <a:cs typeface="+mn-ea"/>
                <a:sym typeface="+mn-lt"/>
              </a:rPr>
              <a:t>paste fon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ts</a:t>
            </a:r>
            <a:r>
              <a:rPr lang="en-US" altLang="zh-CN" sz="1100" dirty="0">
                <a:cs typeface="+mn-ea"/>
                <a:sym typeface="+mn-lt"/>
              </a:rPr>
              <a:t>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6D062BC-2AA4-437C-A302-B9059DF50DAB}"/>
              </a:ext>
            </a:extLst>
          </p:cNvPr>
          <p:cNvSpPr/>
          <p:nvPr/>
        </p:nvSpPr>
        <p:spPr bwMode="auto">
          <a:xfrm>
            <a:off x="6624266" y="4223699"/>
            <a:ext cx="2006431" cy="85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tion </a:t>
            </a:r>
            <a:r>
              <a:rPr lang="en-US" altLang="zh-CN" sz="11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26D062BC-2AA4-437C-A302-B9059DF50DAB}"/>
              </a:ext>
            </a:extLst>
          </p:cNvPr>
          <p:cNvSpPr/>
          <p:nvPr/>
        </p:nvSpPr>
        <p:spPr bwMode="auto">
          <a:xfrm>
            <a:off x="3561303" y="5291652"/>
            <a:ext cx="2006431" cy="85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tion </a:t>
            </a:r>
            <a:r>
              <a:rPr lang="en-US" altLang="zh-CN" sz="11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26D062BC-2AA4-437C-A302-B9059DF50DAB}"/>
              </a:ext>
            </a:extLst>
          </p:cNvPr>
          <p:cNvSpPr/>
          <p:nvPr/>
        </p:nvSpPr>
        <p:spPr bwMode="auto">
          <a:xfrm>
            <a:off x="3561303" y="2195504"/>
            <a:ext cx="2006431" cy="857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</a:t>
            </a:r>
            <a:r>
              <a:rPr lang="en-US" altLang="zh-CN" sz="1100">
                <a:cs typeface="+mn-ea"/>
                <a:sym typeface="+mn-lt"/>
              </a:rPr>
              <a:t>only 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tion </a:t>
            </a:r>
            <a:r>
              <a:rPr lang="en-US" altLang="zh-CN" sz="1100" dirty="0">
                <a:cs typeface="+mn-ea"/>
                <a:sym typeface="+mn-lt"/>
              </a:rPr>
              <a:t>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</p:spTree>
    <p:extLst>
      <p:ext uri="{BB962C8B-B14F-4D97-AF65-F5344CB8AC3E}">
        <p14:creationId xmlns:p14="http://schemas.microsoft.com/office/powerpoint/2010/main" val="12528897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例定义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969001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例定义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11738C1C-4AA1-4E42-821F-05E7A6369075}"/>
              </a:ext>
            </a:extLst>
          </p:cNvPr>
          <p:cNvSpPr/>
          <p:nvPr/>
        </p:nvSpPr>
        <p:spPr bwMode="auto">
          <a:xfrm>
            <a:off x="8218536" y="2206587"/>
            <a:ext cx="1410717" cy="2257144"/>
          </a:xfrm>
          <a:custGeom>
            <a:avLst/>
            <a:gdLst>
              <a:gd name="T0" fmla="*/ 322 w 323"/>
              <a:gd name="T1" fmla="*/ 313 h 516"/>
              <a:gd name="T2" fmla="*/ 0 w 323"/>
              <a:gd name="T3" fmla="*/ 0 h 516"/>
              <a:gd name="T4" fmla="*/ 0 w 323"/>
              <a:gd name="T5" fmla="*/ 161 h 516"/>
              <a:gd name="T6" fmla="*/ 161 w 323"/>
              <a:gd name="T7" fmla="*/ 313 h 516"/>
              <a:gd name="T8" fmla="*/ 161 w 323"/>
              <a:gd name="T9" fmla="*/ 320 h 516"/>
              <a:gd name="T10" fmla="*/ 161 w 323"/>
              <a:gd name="T11" fmla="*/ 428 h 516"/>
              <a:gd name="T12" fmla="*/ 161 w 323"/>
              <a:gd name="T13" fmla="*/ 441 h 516"/>
              <a:gd name="T14" fmla="*/ 242 w 323"/>
              <a:gd name="T15" fmla="*/ 516 h 516"/>
              <a:gd name="T16" fmla="*/ 323 w 323"/>
              <a:gd name="T17" fmla="*/ 441 h 516"/>
              <a:gd name="T18" fmla="*/ 323 w 323"/>
              <a:gd name="T19" fmla="*/ 428 h 516"/>
              <a:gd name="T20" fmla="*/ 323 w 323"/>
              <a:gd name="T21" fmla="*/ 320 h 516"/>
              <a:gd name="T22" fmla="*/ 322 w 323"/>
              <a:gd name="T23" fmla="*/ 313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3" h="516">
                <a:moveTo>
                  <a:pt x="322" y="313"/>
                </a:moveTo>
                <a:cubicBezTo>
                  <a:pt x="317" y="139"/>
                  <a:pt x="174" y="0"/>
                  <a:pt x="0" y="0"/>
                </a:cubicBezTo>
                <a:cubicBezTo>
                  <a:pt x="0" y="161"/>
                  <a:pt x="0" y="161"/>
                  <a:pt x="0" y="161"/>
                </a:cubicBezTo>
                <a:cubicBezTo>
                  <a:pt x="86" y="161"/>
                  <a:pt x="156" y="228"/>
                  <a:pt x="161" y="313"/>
                </a:cubicBezTo>
                <a:cubicBezTo>
                  <a:pt x="161" y="315"/>
                  <a:pt x="161" y="318"/>
                  <a:pt x="161" y="320"/>
                </a:cubicBezTo>
                <a:cubicBezTo>
                  <a:pt x="161" y="428"/>
                  <a:pt x="161" y="428"/>
                  <a:pt x="161" y="428"/>
                </a:cubicBezTo>
                <a:cubicBezTo>
                  <a:pt x="161" y="441"/>
                  <a:pt x="161" y="441"/>
                  <a:pt x="161" y="441"/>
                </a:cubicBezTo>
                <a:cubicBezTo>
                  <a:pt x="242" y="516"/>
                  <a:pt x="242" y="516"/>
                  <a:pt x="242" y="516"/>
                </a:cubicBezTo>
                <a:cubicBezTo>
                  <a:pt x="323" y="441"/>
                  <a:pt x="323" y="441"/>
                  <a:pt x="323" y="441"/>
                </a:cubicBezTo>
                <a:cubicBezTo>
                  <a:pt x="323" y="428"/>
                  <a:pt x="323" y="428"/>
                  <a:pt x="323" y="428"/>
                </a:cubicBezTo>
                <a:cubicBezTo>
                  <a:pt x="323" y="320"/>
                  <a:pt x="323" y="320"/>
                  <a:pt x="323" y="320"/>
                </a:cubicBezTo>
                <a:cubicBezTo>
                  <a:pt x="323" y="317"/>
                  <a:pt x="322" y="315"/>
                  <a:pt x="322" y="31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2896B93E-EDB2-435E-9006-CD131E9FCAC7}"/>
              </a:ext>
            </a:extLst>
          </p:cNvPr>
          <p:cNvSpPr/>
          <p:nvPr/>
        </p:nvSpPr>
        <p:spPr bwMode="auto">
          <a:xfrm>
            <a:off x="2568047" y="2206587"/>
            <a:ext cx="1410717" cy="2257144"/>
          </a:xfrm>
          <a:custGeom>
            <a:avLst/>
            <a:gdLst>
              <a:gd name="T0" fmla="*/ 0 w 323"/>
              <a:gd name="T1" fmla="*/ 323 h 516"/>
              <a:gd name="T2" fmla="*/ 0 w 323"/>
              <a:gd name="T3" fmla="*/ 323 h 516"/>
              <a:gd name="T4" fmla="*/ 0 w 323"/>
              <a:gd name="T5" fmla="*/ 428 h 516"/>
              <a:gd name="T6" fmla="*/ 0 w 323"/>
              <a:gd name="T7" fmla="*/ 441 h 516"/>
              <a:gd name="T8" fmla="*/ 81 w 323"/>
              <a:gd name="T9" fmla="*/ 516 h 516"/>
              <a:gd name="T10" fmla="*/ 162 w 323"/>
              <a:gd name="T11" fmla="*/ 441 h 516"/>
              <a:gd name="T12" fmla="*/ 162 w 323"/>
              <a:gd name="T13" fmla="*/ 428 h 516"/>
              <a:gd name="T14" fmla="*/ 162 w 323"/>
              <a:gd name="T15" fmla="*/ 320 h 516"/>
              <a:gd name="T16" fmla="*/ 161 w 323"/>
              <a:gd name="T17" fmla="*/ 310 h 516"/>
              <a:gd name="T18" fmla="*/ 323 w 323"/>
              <a:gd name="T19" fmla="*/ 161 h 516"/>
              <a:gd name="T20" fmla="*/ 323 w 323"/>
              <a:gd name="T21" fmla="*/ 0 h 516"/>
              <a:gd name="T22" fmla="*/ 0 w 323"/>
              <a:gd name="T23" fmla="*/ 323 h 5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23" h="516">
                <a:moveTo>
                  <a:pt x="0" y="323"/>
                </a:moveTo>
                <a:cubicBezTo>
                  <a:pt x="0" y="323"/>
                  <a:pt x="0" y="323"/>
                  <a:pt x="0" y="323"/>
                </a:cubicBezTo>
                <a:cubicBezTo>
                  <a:pt x="0" y="428"/>
                  <a:pt x="0" y="428"/>
                  <a:pt x="0" y="428"/>
                </a:cubicBezTo>
                <a:cubicBezTo>
                  <a:pt x="0" y="441"/>
                  <a:pt x="0" y="441"/>
                  <a:pt x="0" y="441"/>
                </a:cubicBezTo>
                <a:cubicBezTo>
                  <a:pt x="81" y="516"/>
                  <a:pt x="81" y="516"/>
                  <a:pt x="81" y="516"/>
                </a:cubicBezTo>
                <a:cubicBezTo>
                  <a:pt x="162" y="441"/>
                  <a:pt x="162" y="441"/>
                  <a:pt x="162" y="441"/>
                </a:cubicBezTo>
                <a:cubicBezTo>
                  <a:pt x="162" y="428"/>
                  <a:pt x="162" y="428"/>
                  <a:pt x="162" y="428"/>
                </a:cubicBezTo>
                <a:cubicBezTo>
                  <a:pt x="162" y="320"/>
                  <a:pt x="162" y="320"/>
                  <a:pt x="162" y="320"/>
                </a:cubicBezTo>
                <a:cubicBezTo>
                  <a:pt x="162" y="316"/>
                  <a:pt x="162" y="313"/>
                  <a:pt x="161" y="310"/>
                </a:cubicBezTo>
                <a:cubicBezTo>
                  <a:pt x="168" y="227"/>
                  <a:pt x="238" y="161"/>
                  <a:pt x="323" y="161"/>
                </a:cubicBezTo>
                <a:cubicBezTo>
                  <a:pt x="323" y="0"/>
                  <a:pt x="323" y="0"/>
                  <a:pt x="323" y="0"/>
                </a:cubicBezTo>
                <a:cubicBezTo>
                  <a:pt x="145" y="0"/>
                  <a:pt x="0" y="145"/>
                  <a:pt x="0" y="32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B6F8301A-F983-4551-A3CC-4F959876DA67}"/>
              </a:ext>
            </a:extLst>
          </p:cNvPr>
          <p:cNvSpPr/>
          <p:nvPr/>
        </p:nvSpPr>
        <p:spPr bwMode="auto">
          <a:xfrm>
            <a:off x="3978764" y="2206587"/>
            <a:ext cx="1413258" cy="1413257"/>
          </a:xfrm>
          <a:custGeom>
            <a:avLst/>
            <a:gdLst>
              <a:gd name="T0" fmla="*/ 0 w 323"/>
              <a:gd name="T1" fmla="*/ 0 h 323"/>
              <a:gd name="T2" fmla="*/ 0 w 323"/>
              <a:gd name="T3" fmla="*/ 161 h 323"/>
              <a:gd name="T4" fmla="*/ 162 w 323"/>
              <a:gd name="T5" fmla="*/ 323 h 323"/>
              <a:gd name="T6" fmla="*/ 323 w 323"/>
              <a:gd name="T7" fmla="*/ 323 h 323"/>
              <a:gd name="T8" fmla="*/ 0 w 323"/>
              <a:gd name="T9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3" h="323">
                <a:moveTo>
                  <a:pt x="0" y="0"/>
                </a:moveTo>
                <a:cubicBezTo>
                  <a:pt x="0" y="161"/>
                  <a:pt x="0" y="161"/>
                  <a:pt x="0" y="161"/>
                </a:cubicBezTo>
                <a:cubicBezTo>
                  <a:pt x="89" y="161"/>
                  <a:pt x="162" y="233"/>
                  <a:pt x="162" y="323"/>
                </a:cubicBezTo>
                <a:cubicBezTo>
                  <a:pt x="323" y="323"/>
                  <a:pt x="323" y="323"/>
                  <a:pt x="323" y="323"/>
                </a:cubicBezTo>
                <a:cubicBezTo>
                  <a:pt x="323" y="145"/>
                  <a:pt x="178" y="0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A065F043-7B9D-4DC3-929A-B1AA9FA6A12E}"/>
              </a:ext>
            </a:extLst>
          </p:cNvPr>
          <p:cNvSpPr/>
          <p:nvPr/>
        </p:nvSpPr>
        <p:spPr bwMode="auto">
          <a:xfrm>
            <a:off x="4687933" y="3619844"/>
            <a:ext cx="1392923" cy="1413257"/>
          </a:xfrm>
          <a:custGeom>
            <a:avLst/>
            <a:gdLst>
              <a:gd name="T0" fmla="*/ 161 w 319"/>
              <a:gd name="T1" fmla="*/ 0 h 323"/>
              <a:gd name="T2" fmla="*/ 0 w 319"/>
              <a:gd name="T3" fmla="*/ 0 h 323"/>
              <a:gd name="T4" fmla="*/ 319 w 319"/>
              <a:gd name="T5" fmla="*/ 323 h 323"/>
              <a:gd name="T6" fmla="*/ 319 w 319"/>
              <a:gd name="T7" fmla="*/ 162 h 323"/>
              <a:gd name="T8" fmla="*/ 161 w 319"/>
              <a:gd name="T9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9" h="323">
                <a:moveTo>
                  <a:pt x="161" y="0"/>
                </a:moveTo>
                <a:cubicBezTo>
                  <a:pt x="0" y="0"/>
                  <a:pt x="0" y="0"/>
                  <a:pt x="0" y="0"/>
                </a:cubicBezTo>
                <a:cubicBezTo>
                  <a:pt x="0" y="177"/>
                  <a:pt x="143" y="321"/>
                  <a:pt x="319" y="323"/>
                </a:cubicBezTo>
                <a:cubicBezTo>
                  <a:pt x="319" y="162"/>
                  <a:pt x="319" y="162"/>
                  <a:pt x="319" y="162"/>
                </a:cubicBezTo>
                <a:cubicBezTo>
                  <a:pt x="231" y="160"/>
                  <a:pt x="161" y="88"/>
                  <a:pt x="16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C84EB2CE-203A-474F-A395-1A3438CFB221}"/>
              </a:ext>
            </a:extLst>
          </p:cNvPr>
          <p:cNvSpPr/>
          <p:nvPr/>
        </p:nvSpPr>
        <p:spPr bwMode="auto">
          <a:xfrm>
            <a:off x="6080856" y="3619844"/>
            <a:ext cx="1423425" cy="1413257"/>
          </a:xfrm>
          <a:custGeom>
            <a:avLst/>
            <a:gdLst>
              <a:gd name="T0" fmla="*/ 4 w 326"/>
              <a:gd name="T1" fmla="*/ 162 h 323"/>
              <a:gd name="T2" fmla="*/ 0 w 326"/>
              <a:gd name="T3" fmla="*/ 162 h 323"/>
              <a:gd name="T4" fmla="*/ 0 w 326"/>
              <a:gd name="T5" fmla="*/ 323 h 323"/>
              <a:gd name="T6" fmla="*/ 4 w 326"/>
              <a:gd name="T7" fmla="*/ 323 h 323"/>
              <a:gd name="T8" fmla="*/ 326 w 326"/>
              <a:gd name="T9" fmla="*/ 0 h 323"/>
              <a:gd name="T10" fmla="*/ 166 w 326"/>
              <a:gd name="T11" fmla="*/ 0 h 323"/>
              <a:gd name="T12" fmla="*/ 4 w 326"/>
              <a:gd name="T13" fmla="*/ 162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26" h="323">
                <a:moveTo>
                  <a:pt x="4" y="162"/>
                </a:moveTo>
                <a:cubicBezTo>
                  <a:pt x="2" y="162"/>
                  <a:pt x="1" y="162"/>
                  <a:pt x="0" y="162"/>
                </a:cubicBezTo>
                <a:cubicBezTo>
                  <a:pt x="0" y="323"/>
                  <a:pt x="0" y="323"/>
                  <a:pt x="0" y="323"/>
                </a:cubicBezTo>
                <a:cubicBezTo>
                  <a:pt x="1" y="323"/>
                  <a:pt x="2" y="323"/>
                  <a:pt x="4" y="323"/>
                </a:cubicBezTo>
                <a:cubicBezTo>
                  <a:pt x="182" y="323"/>
                  <a:pt x="326" y="178"/>
                  <a:pt x="326" y="0"/>
                </a:cubicBezTo>
                <a:cubicBezTo>
                  <a:pt x="166" y="0"/>
                  <a:pt x="166" y="0"/>
                  <a:pt x="166" y="0"/>
                </a:cubicBezTo>
                <a:cubicBezTo>
                  <a:pt x="166" y="89"/>
                  <a:pt x="93" y="162"/>
                  <a:pt x="4" y="16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38811183-4B60-4D98-89FF-4259EFDE9C1E}"/>
              </a:ext>
            </a:extLst>
          </p:cNvPr>
          <p:cNvSpPr/>
          <p:nvPr/>
        </p:nvSpPr>
        <p:spPr bwMode="auto">
          <a:xfrm>
            <a:off x="6805279" y="2206587"/>
            <a:ext cx="1413258" cy="1413257"/>
          </a:xfrm>
          <a:custGeom>
            <a:avLst/>
            <a:gdLst>
              <a:gd name="T0" fmla="*/ 323 w 323"/>
              <a:gd name="T1" fmla="*/ 0 h 323"/>
              <a:gd name="T2" fmla="*/ 0 w 323"/>
              <a:gd name="T3" fmla="*/ 323 h 323"/>
              <a:gd name="T4" fmla="*/ 160 w 323"/>
              <a:gd name="T5" fmla="*/ 323 h 323"/>
              <a:gd name="T6" fmla="*/ 323 w 323"/>
              <a:gd name="T7" fmla="*/ 161 h 323"/>
              <a:gd name="T8" fmla="*/ 323 w 323"/>
              <a:gd name="T9" fmla="*/ 161 h 323"/>
              <a:gd name="T10" fmla="*/ 323 w 323"/>
              <a:gd name="T11" fmla="*/ 0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23" h="323">
                <a:moveTo>
                  <a:pt x="323" y="0"/>
                </a:moveTo>
                <a:cubicBezTo>
                  <a:pt x="144" y="0"/>
                  <a:pt x="0" y="145"/>
                  <a:pt x="0" y="323"/>
                </a:cubicBezTo>
                <a:cubicBezTo>
                  <a:pt x="160" y="323"/>
                  <a:pt x="160" y="323"/>
                  <a:pt x="160" y="323"/>
                </a:cubicBezTo>
                <a:cubicBezTo>
                  <a:pt x="160" y="233"/>
                  <a:pt x="233" y="161"/>
                  <a:pt x="323" y="161"/>
                </a:cubicBezTo>
                <a:cubicBezTo>
                  <a:pt x="323" y="161"/>
                  <a:pt x="323" y="161"/>
                  <a:pt x="323" y="161"/>
                </a:cubicBezTo>
                <a:cubicBezTo>
                  <a:pt x="323" y="0"/>
                  <a:pt x="323" y="0"/>
                  <a:pt x="323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D06B6C8A-388C-4081-BC6B-2F1C86FE6396}"/>
              </a:ext>
            </a:extLst>
          </p:cNvPr>
          <p:cNvSpPr/>
          <p:nvPr/>
        </p:nvSpPr>
        <p:spPr>
          <a:xfrm>
            <a:off x="2432700" y="3619844"/>
            <a:ext cx="953230" cy="9532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1600" b="1" i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7BBC8C17-DC91-4B2C-8F97-AE7F7CF3DB32}"/>
              </a:ext>
            </a:extLst>
          </p:cNvPr>
          <p:cNvSpPr/>
          <p:nvPr/>
        </p:nvSpPr>
        <p:spPr bwMode="auto">
          <a:xfrm>
            <a:off x="2621326" y="3843824"/>
            <a:ext cx="575981" cy="505269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C1CC7AB7-CA66-45E7-AD59-5DA05E88E39C}"/>
              </a:ext>
            </a:extLst>
          </p:cNvPr>
          <p:cNvSpPr/>
          <p:nvPr/>
        </p:nvSpPr>
        <p:spPr>
          <a:xfrm>
            <a:off x="5622035" y="4232492"/>
            <a:ext cx="953230" cy="9532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1600" b="1" i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5F07A83D-DB83-4D27-8C9E-01850CCD0CE6}"/>
              </a:ext>
            </a:extLst>
          </p:cNvPr>
          <p:cNvSpPr/>
          <p:nvPr/>
        </p:nvSpPr>
        <p:spPr bwMode="auto">
          <a:xfrm>
            <a:off x="5810661" y="4456472"/>
            <a:ext cx="575981" cy="505269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4967D8E6-8819-4CD6-8A61-675CCA68F0CE}"/>
              </a:ext>
            </a:extLst>
          </p:cNvPr>
          <p:cNvSpPr/>
          <p:nvPr/>
        </p:nvSpPr>
        <p:spPr>
          <a:xfrm>
            <a:off x="8806068" y="3619844"/>
            <a:ext cx="953230" cy="9532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1600" b="1" i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5722FFF9-3BB5-4AD3-BCD1-0884F0A2025C}"/>
              </a:ext>
            </a:extLst>
          </p:cNvPr>
          <p:cNvSpPr/>
          <p:nvPr/>
        </p:nvSpPr>
        <p:spPr bwMode="auto">
          <a:xfrm>
            <a:off x="8994694" y="3843824"/>
            <a:ext cx="575981" cy="505269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33F4233D-EA44-4209-8230-2C5254A0E605}"/>
              </a:ext>
            </a:extLst>
          </p:cNvPr>
          <p:cNvSpPr/>
          <p:nvPr/>
        </p:nvSpPr>
        <p:spPr>
          <a:xfrm>
            <a:off x="7741923" y="2097246"/>
            <a:ext cx="953230" cy="953228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1600" b="1" i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FDABC64C-13E1-44FC-91D6-83F2AF7A8D52}"/>
              </a:ext>
            </a:extLst>
          </p:cNvPr>
          <p:cNvSpPr/>
          <p:nvPr/>
        </p:nvSpPr>
        <p:spPr bwMode="auto">
          <a:xfrm>
            <a:off x="7930549" y="2321226"/>
            <a:ext cx="575981" cy="505269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A81BF8BD-9869-445D-91C1-C5C0B9F468F3}"/>
              </a:ext>
            </a:extLst>
          </p:cNvPr>
          <p:cNvSpPr/>
          <p:nvPr/>
        </p:nvSpPr>
        <p:spPr>
          <a:xfrm>
            <a:off x="3502148" y="2097246"/>
            <a:ext cx="953230" cy="953228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 sz="1600" b="1" i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4D651853-AEC7-4EF1-AD99-B58A382C7646}"/>
              </a:ext>
            </a:extLst>
          </p:cNvPr>
          <p:cNvSpPr/>
          <p:nvPr/>
        </p:nvSpPr>
        <p:spPr bwMode="auto">
          <a:xfrm>
            <a:off x="3690774" y="2321226"/>
            <a:ext cx="575981" cy="505269"/>
          </a:xfrm>
          <a:custGeom>
            <a:avLst/>
            <a:gdLst>
              <a:gd name="connsiteX0" fmla="*/ 352921 w 607646"/>
              <a:gd name="connsiteY0" fmla="*/ 457945 h 533051"/>
              <a:gd name="connsiteX1" fmla="*/ 342979 w 607646"/>
              <a:gd name="connsiteY1" fmla="*/ 462170 h 533051"/>
              <a:gd name="connsiteX2" fmla="*/ 338854 w 607646"/>
              <a:gd name="connsiteY2" fmla="*/ 472100 h 533051"/>
              <a:gd name="connsiteX3" fmla="*/ 342979 w 607646"/>
              <a:gd name="connsiteY3" fmla="*/ 482029 h 533051"/>
              <a:gd name="connsiteX4" fmla="*/ 352921 w 607646"/>
              <a:gd name="connsiteY4" fmla="*/ 486149 h 533051"/>
              <a:gd name="connsiteX5" fmla="*/ 362863 w 607646"/>
              <a:gd name="connsiteY5" fmla="*/ 482029 h 533051"/>
              <a:gd name="connsiteX6" fmla="*/ 366987 w 607646"/>
              <a:gd name="connsiteY6" fmla="*/ 472100 h 533051"/>
              <a:gd name="connsiteX7" fmla="*/ 362863 w 607646"/>
              <a:gd name="connsiteY7" fmla="*/ 462170 h 533051"/>
              <a:gd name="connsiteX8" fmla="*/ 352921 w 607646"/>
              <a:gd name="connsiteY8" fmla="*/ 457945 h 533051"/>
              <a:gd name="connsiteX9" fmla="*/ 438485 w 607646"/>
              <a:gd name="connsiteY9" fmla="*/ 375972 h 533051"/>
              <a:gd name="connsiteX10" fmla="*/ 431081 w 607646"/>
              <a:gd name="connsiteY10" fmla="*/ 379141 h 533051"/>
              <a:gd name="connsiteX11" fmla="*/ 372699 w 607646"/>
              <a:gd name="connsiteY11" fmla="*/ 437346 h 533051"/>
              <a:gd name="connsiteX12" fmla="*/ 369632 w 607646"/>
              <a:gd name="connsiteY12" fmla="*/ 444846 h 533051"/>
              <a:gd name="connsiteX13" fmla="*/ 372699 w 607646"/>
              <a:gd name="connsiteY13" fmla="*/ 452346 h 533051"/>
              <a:gd name="connsiteX14" fmla="*/ 380208 w 607646"/>
              <a:gd name="connsiteY14" fmla="*/ 455409 h 533051"/>
              <a:gd name="connsiteX15" fmla="*/ 387612 w 607646"/>
              <a:gd name="connsiteY15" fmla="*/ 452346 h 533051"/>
              <a:gd name="connsiteX16" fmla="*/ 445994 w 607646"/>
              <a:gd name="connsiteY16" fmla="*/ 394035 h 533051"/>
              <a:gd name="connsiteX17" fmla="*/ 449062 w 607646"/>
              <a:gd name="connsiteY17" fmla="*/ 386535 h 533051"/>
              <a:gd name="connsiteX18" fmla="*/ 445994 w 607646"/>
              <a:gd name="connsiteY18" fmla="*/ 379141 h 533051"/>
              <a:gd name="connsiteX19" fmla="*/ 438485 w 607646"/>
              <a:gd name="connsiteY19" fmla="*/ 375972 h 533051"/>
              <a:gd name="connsiteX20" fmla="*/ 534943 w 607646"/>
              <a:gd name="connsiteY20" fmla="*/ 217624 h 533051"/>
              <a:gd name="connsiteX21" fmla="*/ 553981 w 607646"/>
              <a:gd name="connsiteY21" fmla="*/ 225547 h 533051"/>
              <a:gd name="connsiteX22" fmla="*/ 554404 w 607646"/>
              <a:gd name="connsiteY22" fmla="*/ 225969 h 533051"/>
              <a:gd name="connsiteX23" fmla="*/ 556520 w 607646"/>
              <a:gd name="connsiteY23" fmla="*/ 230934 h 533051"/>
              <a:gd name="connsiteX24" fmla="*/ 554510 w 607646"/>
              <a:gd name="connsiteY24" fmla="*/ 235899 h 533051"/>
              <a:gd name="connsiteX25" fmla="*/ 524050 w 607646"/>
              <a:gd name="connsiteY25" fmla="*/ 266322 h 533051"/>
              <a:gd name="connsiteX26" fmla="*/ 516752 w 607646"/>
              <a:gd name="connsiteY26" fmla="*/ 283752 h 533051"/>
              <a:gd name="connsiteX27" fmla="*/ 524050 w 607646"/>
              <a:gd name="connsiteY27" fmla="*/ 301182 h 533051"/>
              <a:gd name="connsiteX28" fmla="*/ 541501 w 607646"/>
              <a:gd name="connsiteY28" fmla="*/ 308365 h 533051"/>
              <a:gd name="connsiteX29" fmla="*/ 558952 w 607646"/>
              <a:gd name="connsiteY29" fmla="*/ 301182 h 533051"/>
              <a:gd name="connsiteX30" fmla="*/ 589413 w 607646"/>
              <a:gd name="connsiteY30" fmla="*/ 270759 h 533051"/>
              <a:gd name="connsiteX31" fmla="*/ 594384 w 607646"/>
              <a:gd name="connsiteY31" fmla="*/ 268752 h 533051"/>
              <a:gd name="connsiteX32" fmla="*/ 599355 w 607646"/>
              <a:gd name="connsiteY32" fmla="*/ 270759 h 533051"/>
              <a:gd name="connsiteX33" fmla="*/ 599778 w 607646"/>
              <a:gd name="connsiteY33" fmla="*/ 271181 h 533051"/>
              <a:gd name="connsiteX34" fmla="*/ 606758 w 607646"/>
              <a:gd name="connsiteY34" fmla="*/ 297168 h 533051"/>
              <a:gd name="connsiteX35" fmla="*/ 590047 w 607646"/>
              <a:gd name="connsiteY35" fmla="*/ 359704 h 533051"/>
              <a:gd name="connsiteX36" fmla="*/ 571010 w 607646"/>
              <a:gd name="connsiteY36" fmla="*/ 378612 h 533051"/>
              <a:gd name="connsiteX37" fmla="*/ 570798 w 607646"/>
              <a:gd name="connsiteY37" fmla="*/ 378718 h 533051"/>
              <a:gd name="connsiteX38" fmla="*/ 501627 w 607646"/>
              <a:gd name="connsiteY38" fmla="*/ 395303 h 533051"/>
              <a:gd name="connsiteX39" fmla="*/ 377987 w 607646"/>
              <a:gd name="connsiteY39" fmla="*/ 518790 h 533051"/>
              <a:gd name="connsiteX40" fmla="*/ 343507 w 607646"/>
              <a:gd name="connsiteY40" fmla="*/ 533051 h 533051"/>
              <a:gd name="connsiteX41" fmla="*/ 309028 w 607646"/>
              <a:gd name="connsiteY41" fmla="*/ 518790 h 533051"/>
              <a:gd name="connsiteX42" fmla="*/ 306066 w 607646"/>
              <a:gd name="connsiteY42" fmla="*/ 515833 h 533051"/>
              <a:gd name="connsiteX43" fmla="*/ 291788 w 607646"/>
              <a:gd name="connsiteY43" fmla="*/ 481501 h 533051"/>
              <a:gd name="connsiteX44" fmla="*/ 306066 w 607646"/>
              <a:gd name="connsiteY44" fmla="*/ 447064 h 533051"/>
              <a:gd name="connsiteX45" fmla="*/ 429707 w 607646"/>
              <a:gd name="connsiteY45" fmla="*/ 323576 h 533051"/>
              <a:gd name="connsiteX46" fmla="*/ 446418 w 607646"/>
              <a:gd name="connsiteY46" fmla="*/ 254491 h 533051"/>
              <a:gd name="connsiteX47" fmla="*/ 446418 w 607646"/>
              <a:gd name="connsiteY47" fmla="*/ 254280 h 533051"/>
              <a:gd name="connsiteX48" fmla="*/ 465455 w 607646"/>
              <a:gd name="connsiteY48" fmla="*/ 235265 h 533051"/>
              <a:gd name="connsiteX49" fmla="*/ 527963 w 607646"/>
              <a:gd name="connsiteY49" fmla="*/ 218575 h 533051"/>
              <a:gd name="connsiteX50" fmla="*/ 534943 w 607646"/>
              <a:gd name="connsiteY50" fmla="*/ 217624 h 533051"/>
              <a:gd name="connsiteX51" fmla="*/ 253873 w 607646"/>
              <a:gd name="connsiteY51" fmla="*/ 140927 h 533051"/>
              <a:gd name="connsiteX52" fmla="*/ 141005 w 607646"/>
              <a:gd name="connsiteY52" fmla="*/ 253542 h 533051"/>
              <a:gd name="connsiteX53" fmla="*/ 253873 w 607646"/>
              <a:gd name="connsiteY53" fmla="*/ 366262 h 533051"/>
              <a:gd name="connsiteX54" fmla="*/ 366741 w 607646"/>
              <a:gd name="connsiteY54" fmla="*/ 253542 h 533051"/>
              <a:gd name="connsiteX55" fmla="*/ 253873 w 607646"/>
              <a:gd name="connsiteY55" fmla="*/ 140927 h 533051"/>
              <a:gd name="connsiteX56" fmla="*/ 232929 w 607646"/>
              <a:gd name="connsiteY56" fmla="*/ 0 h 533051"/>
              <a:gd name="connsiteX57" fmla="*/ 274818 w 607646"/>
              <a:gd name="connsiteY57" fmla="*/ 0 h 533051"/>
              <a:gd name="connsiteX58" fmla="*/ 316918 w 607646"/>
              <a:gd name="connsiteY58" fmla="*/ 42045 h 533051"/>
              <a:gd name="connsiteX59" fmla="*/ 316918 w 607646"/>
              <a:gd name="connsiteY59" fmla="*/ 55885 h 533051"/>
              <a:gd name="connsiteX60" fmla="*/ 349287 w 607646"/>
              <a:gd name="connsiteY60" fmla="*/ 69301 h 533051"/>
              <a:gd name="connsiteX61" fmla="*/ 359125 w 607646"/>
              <a:gd name="connsiteY61" fmla="*/ 59476 h 533051"/>
              <a:gd name="connsiteX62" fmla="*/ 388849 w 607646"/>
              <a:gd name="connsiteY62" fmla="*/ 47222 h 533051"/>
              <a:gd name="connsiteX63" fmla="*/ 418574 w 607646"/>
              <a:gd name="connsiteY63" fmla="*/ 59476 h 533051"/>
              <a:gd name="connsiteX64" fmla="*/ 448192 w 607646"/>
              <a:gd name="connsiteY64" fmla="*/ 89162 h 533051"/>
              <a:gd name="connsiteX65" fmla="*/ 448192 w 607646"/>
              <a:gd name="connsiteY65" fmla="*/ 148533 h 533051"/>
              <a:gd name="connsiteX66" fmla="*/ 438460 w 607646"/>
              <a:gd name="connsiteY66" fmla="*/ 158252 h 533051"/>
              <a:gd name="connsiteX67" fmla="*/ 451789 w 607646"/>
              <a:gd name="connsiteY67" fmla="*/ 190684 h 533051"/>
              <a:gd name="connsiteX68" fmla="*/ 465752 w 607646"/>
              <a:gd name="connsiteY68" fmla="*/ 190684 h 533051"/>
              <a:gd name="connsiteX69" fmla="*/ 497909 w 607646"/>
              <a:gd name="connsiteY69" fmla="*/ 205685 h 533051"/>
              <a:gd name="connsiteX70" fmla="*/ 450837 w 607646"/>
              <a:gd name="connsiteY70" fmla="*/ 218257 h 533051"/>
              <a:gd name="connsiteX71" fmla="*/ 419420 w 607646"/>
              <a:gd name="connsiteY71" fmla="*/ 249739 h 533051"/>
              <a:gd name="connsiteX72" fmla="*/ 419208 w 607646"/>
              <a:gd name="connsiteY72" fmla="*/ 250372 h 533051"/>
              <a:gd name="connsiteX73" fmla="*/ 403764 w 607646"/>
              <a:gd name="connsiteY73" fmla="*/ 314603 h 533051"/>
              <a:gd name="connsiteX74" fmla="*/ 283598 w 607646"/>
              <a:gd name="connsiteY74" fmla="*/ 434613 h 533051"/>
              <a:gd name="connsiteX75" fmla="*/ 264134 w 607646"/>
              <a:gd name="connsiteY75" fmla="*/ 481518 h 533051"/>
              <a:gd name="connsiteX76" fmla="*/ 269317 w 607646"/>
              <a:gd name="connsiteY76" fmla="*/ 507083 h 533051"/>
              <a:gd name="connsiteX77" fmla="*/ 232929 w 607646"/>
              <a:gd name="connsiteY77" fmla="*/ 507083 h 533051"/>
              <a:gd name="connsiteX78" fmla="*/ 190828 w 607646"/>
              <a:gd name="connsiteY78" fmla="*/ 465143 h 533051"/>
              <a:gd name="connsiteX79" fmla="*/ 190828 w 607646"/>
              <a:gd name="connsiteY79" fmla="*/ 451304 h 533051"/>
              <a:gd name="connsiteX80" fmla="*/ 158459 w 607646"/>
              <a:gd name="connsiteY80" fmla="*/ 437888 h 533051"/>
              <a:gd name="connsiteX81" fmla="*/ 148622 w 607646"/>
              <a:gd name="connsiteY81" fmla="*/ 447712 h 533051"/>
              <a:gd name="connsiteX82" fmla="*/ 118897 w 607646"/>
              <a:gd name="connsiteY82" fmla="*/ 459967 h 533051"/>
              <a:gd name="connsiteX83" fmla="*/ 89173 w 607646"/>
              <a:gd name="connsiteY83" fmla="*/ 447712 h 533051"/>
              <a:gd name="connsiteX84" fmla="*/ 59554 w 607646"/>
              <a:gd name="connsiteY84" fmla="*/ 418027 h 533051"/>
              <a:gd name="connsiteX85" fmla="*/ 59554 w 607646"/>
              <a:gd name="connsiteY85" fmla="*/ 358656 h 533051"/>
              <a:gd name="connsiteX86" fmla="*/ 69286 w 607646"/>
              <a:gd name="connsiteY86" fmla="*/ 348831 h 533051"/>
              <a:gd name="connsiteX87" fmla="*/ 55958 w 607646"/>
              <a:gd name="connsiteY87" fmla="*/ 316505 h 533051"/>
              <a:gd name="connsiteX88" fmla="*/ 41995 w 607646"/>
              <a:gd name="connsiteY88" fmla="*/ 316505 h 533051"/>
              <a:gd name="connsiteX89" fmla="*/ 0 w 607646"/>
              <a:gd name="connsiteY89" fmla="*/ 274565 h 533051"/>
              <a:gd name="connsiteX90" fmla="*/ 0 w 607646"/>
              <a:gd name="connsiteY90" fmla="*/ 232625 h 533051"/>
              <a:gd name="connsiteX91" fmla="*/ 41995 w 607646"/>
              <a:gd name="connsiteY91" fmla="*/ 190684 h 533051"/>
              <a:gd name="connsiteX92" fmla="*/ 55958 w 607646"/>
              <a:gd name="connsiteY92" fmla="*/ 190684 h 533051"/>
              <a:gd name="connsiteX93" fmla="*/ 69286 w 607646"/>
              <a:gd name="connsiteY93" fmla="*/ 158252 h 533051"/>
              <a:gd name="connsiteX94" fmla="*/ 59554 w 607646"/>
              <a:gd name="connsiteY94" fmla="*/ 148533 h 533051"/>
              <a:gd name="connsiteX95" fmla="*/ 59554 w 607646"/>
              <a:gd name="connsiteY95" fmla="*/ 89162 h 533051"/>
              <a:gd name="connsiteX96" fmla="*/ 89173 w 607646"/>
              <a:gd name="connsiteY96" fmla="*/ 59476 h 533051"/>
              <a:gd name="connsiteX97" fmla="*/ 118897 w 607646"/>
              <a:gd name="connsiteY97" fmla="*/ 47222 h 533051"/>
              <a:gd name="connsiteX98" fmla="*/ 148622 w 607646"/>
              <a:gd name="connsiteY98" fmla="*/ 59476 h 533051"/>
              <a:gd name="connsiteX99" fmla="*/ 158459 w 607646"/>
              <a:gd name="connsiteY99" fmla="*/ 69301 h 533051"/>
              <a:gd name="connsiteX100" fmla="*/ 190828 w 607646"/>
              <a:gd name="connsiteY100" fmla="*/ 55885 h 533051"/>
              <a:gd name="connsiteX101" fmla="*/ 190828 w 607646"/>
              <a:gd name="connsiteY101" fmla="*/ 42045 h 533051"/>
              <a:gd name="connsiteX102" fmla="*/ 232929 w 607646"/>
              <a:gd name="connsiteY102" fmla="*/ 0 h 5330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07646" h="533051">
                <a:moveTo>
                  <a:pt x="352921" y="457945"/>
                </a:moveTo>
                <a:cubicBezTo>
                  <a:pt x="349113" y="457945"/>
                  <a:pt x="345623" y="459423"/>
                  <a:pt x="342979" y="462170"/>
                </a:cubicBezTo>
                <a:cubicBezTo>
                  <a:pt x="340229" y="464811"/>
                  <a:pt x="338854" y="468297"/>
                  <a:pt x="338854" y="472100"/>
                </a:cubicBezTo>
                <a:cubicBezTo>
                  <a:pt x="338854" y="475797"/>
                  <a:pt x="340229" y="479389"/>
                  <a:pt x="342979" y="482029"/>
                </a:cubicBezTo>
                <a:cubicBezTo>
                  <a:pt x="345623" y="484670"/>
                  <a:pt x="349113" y="486149"/>
                  <a:pt x="352921" y="486149"/>
                </a:cubicBezTo>
                <a:cubicBezTo>
                  <a:pt x="356622" y="486149"/>
                  <a:pt x="360218" y="484670"/>
                  <a:pt x="362863" y="482029"/>
                </a:cubicBezTo>
                <a:cubicBezTo>
                  <a:pt x="365507" y="479389"/>
                  <a:pt x="366987" y="475797"/>
                  <a:pt x="366987" y="472100"/>
                </a:cubicBezTo>
                <a:cubicBezTo>
                  <a:pt x="366987" y="468297"/>
                  <a:pt x="365507" y="464811"/>
                  <a:pt x="362863" y="462170"/>
                </a:cubicBezTo>
                <a:cubicBezTo>
                  <a:pt x="360218" y="459423"/>
                  <a:pt x="356622" y="457945"/>
                  <a:pt x="352921" y="457945"/>
                </a:cubicBezTo>
                <a:close/>
                <a:moveTo>
                  <a:pt x="438485" y="375972"/>
                </a:moveTo>
                <a:cubicBezTo>
                  <a:pt x="435735" y="375972"/>
                  <a:pt x="432985" y="377134"/>
                  <a:pt x="431081" y="379141"/>
                </a:cubicBezTo>
                <a:lnTo>
                  <a:pt x="372699" y="437346"/>
                </a:lnTo>
                <a:cubicBezTo>
                  <a:pt x="370689" y="439353"/>
                  <a:pt x="369632" y="441994"/>
                  <a:pt x="369632" y="444846"/>
                </a:cubicBezTo>
                <a:cubicBezTo>
                  <a:pt x="369632" y="447698"/>
                  <a:pt x="370689" y="450339"/>
                  <a:pt x="372699" y="452346"/>
                </a:cubicBezTo>
                <a:cubicBezTo>
                  <a:pt x="374708" y="454353"/>
                  <a:pt x="377352" y="455409"/>
                  <a:pt x="380208" y="455409"/>
                </a:cubicBezTo>
                <a:cubicBezTo>
                  <a:pt x="382958" y="455409"/>
                  <a:pt x="385602" y="454353"/>
                  <a:pt x="387612" y="452346"/>
                </a:cubicBezTo>
                <a:lnTo>
                  <a:pt x="445994" y="394035"/>
                </a:lnTo>
                <a:cubicBezTo>
                  <a:pt x="448004" y="392028"/>
                  <a:pt x="449062" y="389387"/>
                  <a:pt x="449062" y="386535"/>
                </a:cubicBezTo>
                <a:cubicBezTo>
                  <a:pt x="449062" y="383789"/>
                  <a:pt x="448004" y="381148"/>
                  <a:pt x="445994" y="379141"/>
                </a:cubicBezTo>
                <a:cubicBezTo>
                  <a:pt x="443985" y="377134"/>
                  <a:pt x="441341" y="375972"/>
                  <a:pt x="438485" y="375972"/>
                </a:cubicBezTo>
                <a:close/>
                <a:moveTo>
                  <a:pt x="534943" y="217624"/>
                </a:moveTo>
                <a:cubicBezTo>
                  <a:pt x="542136" y="217624"/>
                  <a:pt x="548905" y="220371"/>
                  <a:pt x="553981" y="225547"/>
                </a:cubicBezTo>
                <a:lnTo>
                  <a:pt x="554404" y="225969"/>
                </a:lnTo>
                <a:cubicBezTo>
                  <a:pt x="555779" y="227237"/>
                  <a:pt x="556520" y="229033"/>
                  <a:pt x="556520" y="230934"/>
                </a:cubicBezTo>
                <a:cubicBezTo>
                  <a:pt x="556520" y="232836"/>
                  <a:pt x="555779" y="234632"/>
                  <a:pt x="554510" y="235899"/>
                </a:cubicBezTo>
                <a:lnTo>
                  <a:pt x="524050" y="266322"/>
                </a:lnTo>
                <a:cubicBezTo>
                  <a:pt x="519396" y="270970"/>
                  <a:pt x="516752" y="277203"/>
                  <a:pt x="516752" y="283752"/>
                </a:cubicBezTo>
                <a:cubicBezTo>
                  <a:pt x="516752" y="290301"/>
                  <a:pt x="519396" y="296534"/>
                  <a:pt x="524050" y="301182"/>
                </a:cubicBezTo>
                <a:cubicBezTo>
                  <a:pt x="528703" y="305830"/>
                  <a:pt x="534838" y="308365"/>
                  <a:pt x="541501" y="308365"/>
                </a:cubicBezTo>
                <a:cubicBezTo>
                  <a:pt x="548058" y="308365"/>
                  <a:pt x="554299" y="305830"/>
                  <a:pt x="558952" y="301182"/>
                </a:cubicBezTo>
                <a:lnTo>
                  <a:pt x="589413" y="270759"/>
                </a:lnTo>
                <a:cubicBezTo>
                  <a:pt x="590682" y="269491"/>
                  <a:pt x="592480" y="268752"/>
                  <a:pt x="594384" y="268752"/>
                </a:cubicBezTo>
                <a:cubicBezTo>
                  <a:pt x="596288" y="268752"/>
                  <a:pt x="597980" y="269491"/>
                  <a:pt x="599355" y="270759"/>
                </a:cubicBezTo>
                <a:lnTo>
                  <a:pt x="599778" y="271181"/>
                </a:lnTo>
                <a:cubicBezTo>
                  <a:pt x="606547" y="277942"/>
                  <a:pt x="609191" y="287977"/>
                  <a:pt x="606758" y="297168"/>
                </a:cubicBezTo>
                <a:lnTo>
                  <a:pt x="590047" y="359704"/>
                </a:lnTo>
                <a:cubicBezTo>
                  <a:pt x="587509" y="368894"/>
                  <a:pt x="580211" y="376183"/>
                  <a:pt x="571010" y="378612"/>
                </a:cubicBezTo>
                <a:cubicBezTo>
                  <a:pt x="570904" y="378718"/>
                  <a:pt x="570904" y="378718"/>
                  <a:pt x="570798" y="378718"/>
                </a:cubicBezTo>
                <a:lnTo>
                  <a:pt x="501627" y="395303"/>
                </a:lnTo>
                <a:lnTo>
                  <a:pt x="377987" y="518790"/>
                </a:lnTo>
                <a:cubicBezTo>
                  <a:pt x="368785" y="527981"/>
                  <a:pt x="356517" y="533051"/>
                  <a:pt x="343507" y="533051"/>
                </a:cubicBezTo>
                <a:cubicBezTo>
                  <a:pt x="330498" y="533051"/>
                  <a:pt x="318229" y="527981"/>
                  <a:pt x="309028" y="518790"/>
                </a:cubicBezTo>
                <a:lnTo>
                  <a:pt x="306066" y="515833"/>
                </a:lnTo>
                <a:cubicBezTo>
                  <a:pt x="296865" y="506642"/>
                  <a:pt x="291788" y="494494"/>
                  <a:pt x="291788" y="481501"/>
                </a:cubicBezTo>
                <a:cubicBezTo>
                  <a:pt x="291788" y="468402"/>
                  <a:pt x="296865" y="456254"/>
                  <a:pt x="306066" y="447064"/>
                </a:cubicBezTo>
                <a:lnTo>
                  <a:pt x="429707" y="323576"/>
                </a:lnTo>
                <a:lnTo>
                  <a:pt x="446418" y="254491"/>
                </a:lnTo>
                <a:cubicBezTo>
                  <a:pt x="446418" y="254385"/>
                  <a:pt x="446418" y="254385"/>
                  <a:pt x="446418" y="254280"/>
                </a:cubicBezTo>
                <a:cubicBezTo>
                  <a:pt x="448956" y="245089"/>
                  <a:pt x="456254" y="237801"/>
                  <a:pt x="465455" y="235265"/>
                </a:cubicBezTo>
                <a:lnTo>
                  <a:pt x="527963" y="218575"/>
                </a:lnTo>
                <a:cubicBezTo>
                  <a:pt x="530290" y="217941"/>
                  <a:pt x="532617" y="217624"/>
                  <a:pt x="534943" y="217624"/>
                </a:cubicBezTo>
                <a:close/>
                <a:moveTo>
                  <a:pt x="253873" y="140927"/>
                </a:moveTo>
                <a:cubicBezTo>
                  <a:pt x="191674" y="140927"/>
                  <a:pt x="141005" y="191424"/>
                  <a:pt x="141005" y="253542"/>
                </a:cubicBezTo>
                <a:cubicBezTo>
                  <a:pt x="141005" y="315765"/>
                  <a:pt x="191674" y="366262"/>
                  <a:pt x="253873" y="366262"/>
                </a:cubicBezTo>
                <a:cubicBezTo>
                  <a:pt x="316072" y="366262"/>
                  <a:pt x="366741" y="315765"/>
                  <a:pt x="366741" y="253542"/>
                </a:cubicBezTo>
                <a:cubicBezTo>
                  <a:pt x="366741" y="191424"/>
                  <a:pt x="316072" y="140927"/>
                  <a:pt x="253873" y="140927"/>
                </a:cubicBezTo>
                <a:close/>
                <a:moveTo>
                  <a:pt x="232929" y="0"/>
                </a:moveTo>
                <a:lnTo>
                  <a:pt x="274818" y="0"/>
                </a:lnTo>
                <a:cubicBezTo>
                  <a:pt x="298090" y="0"/>
                  <a:pt x="316918" y="18910"/>
                  <a:pt x="316918" y="42045"/>
                </a:cubicBezTo>
                <a:lnTo>
                  <a:pt x="316918" y="55885"/>
                </a:lnTo>
                <a:cubicBezTo>
                  <a:pt x="328025" y="59371"/>
                  <a:pt x="338921" y="63913"/>
                  <a:pt x="349287" y="69301"/>
                </a:cubicBezTo>
                <a:lnTo>
                  <a:pt x="359125" y="59476"/>
                </a:lnTo>
                <a:cubicBezTo>
                  <a:pt x="367058" y="51553"/>
                  <a:pt x="377637" y="47222"/>
                  <a:pt x="388849" y="47222"/>
                </a:cubicBezTo>
                <a:cubicBezTo>
                  <a:pt x="400062" y="47222"/>
                  <a:pt x="410640" y="51553"/>
                  <a:pt x="418574" y="59476"/>
                </a:cubicBezTo>
                <a:lnTo>
                  <a:pt x="448192" y="89162"/>
                </a:lnTo>
                <a:cubicBezTo>
                  <a:pt x="464588" y="105536"/>
                  <a:pt x="464588" y="132158"/>
                  <a:pt x="448192" y="148533"/>
                </a:cubicBezTo>
                <a:lnTo>
                  <a:pt x="438460" y="158252"/>
                </a:lnTo>
                <a:cubicBezTo>
                  <a:pt x="443749" y="168710"/>
                  <a:pt x="448298" y="179486"/>
                  <a:pt x="451789" y="190684"/>
                </a:cubicBezTo>
                <a:lnTo>
                  <a:pt x="465752" y="190684"/>
                </a:lnTo>
                <a:cubicBezTo>
                  <a:pt x="478657" y="190684"/>
                  <a:pt x="490187" y="196494"/>
                  <a:pt x="497909" y="205685"/>
                </a:cubicBezTo>
                <a:lnTo>
                  <a:pt x="450837" y="218257"/>
                </a:lnTo>
                <a:cubicBezTo>
                  <a:pt x="435604" y="222377"/>
                  <a:pt x="423440" y="234420"/>
                  <a:pt x="419420" y="249739"/>
                </a:cubicBezTo>
                <a:cubicBezTo>
                  <a:pt x="419314" y="249950"/>
                  <a:pt x="419314" y="250161"/>
                  <a:pt x="419208" y="250372"/>
                </a:cubicBezTo>
                <a:lnTo>
                  <a:pt x="403764" y="314603"/>
                </a:lnTo>
                <a:lnTo>
                  <a:pt x="283598" y="434613"/>
                </a:lnTo>
                <a:cubicBezTo>
                  <a:pt x="271010" y="447078"/>
                  <a:pt x="264134" y="463770"/>
                  <a:pt x="264134" y="481518"/>
                </a:cubicBezTo>
                <a:cubicBezTo>
                  <a:pt x="264134" y="490392"/>
                  <a:pt x="265932" y="499160"/>
                  <a:pt x="269317" y="507083"/>
                </a:cubicBezTo>
                <a:lnTo>
                  <a:pt x="232929" y="507083"/>
                </a:lnTo>
                <a:cubicBezTo>
                  <a:pt x="209657" y="507083"/>
                  <a:pt x="190828" y="488279"/>
                  <a:pt x="190828" y="465143"/>
                </a:cubicBezTo>
                <a:lnTo>
                  <a:pt x="190828" y="451304"/>
                </a:lnTo>
                <a:cubicBezTo>
                  <a:pt x="179721" y="447712"/>
                  <a:pt x="168826" y="443275"/>
                  <a:pt x="158459" y="437888"/>
                </a:cubicBezTo>
                <a:lnTo>
                  <a:pt x="148622" y="447712"/>
                </a:lnTo>
                <a:cubicBezTo>
                  <a:pt x="140688" y="455635"/>
                  <a:pt x="130110" y="459967"/>
                  <a:pt x="118897" y="459967"/>
                </a:cubicBezTo>
                <a:cubicBezTo>
                  <a:pt x="107685" y="459967"/>
                  <a:pt x="97107" y="455635"/>
                  <a:pt x="89173" y="447712"/>
                </a:cubicBezTo>
                <a:lnTo>
                  <a:pt x="59554" y="418027"/>
                </a:lnTo>
                <a:cubicBezTo>
                  <a:pt x="43158" y="401652"/>
                  <a:pt x="43158" y="375030"/>
                  <a:pt x="59554" y="358656"/>
                </a:cubicBezTo>
                <a:lnTo>
                  <a:pt x="69286" y="348831"/>
                </a:lnTo>
                <a:cubicBezTo>
                  <a:pt x="63997" y="338478"/>
                  <a:pt x="59449" y="327597"/>
                  <a:pt x="55958" y="316505"/>
                </a:cubicBezTo>
                <a:lnTo>
                  <a:pt x="41995" y="316505"/>
                </a:lnTo>
                <a:cubicBezTo>
                  <a:pt x="18829" y="316505"/>
                  <a:pt x="0" y="297700"/>
                  <a:pt x="0" y="274565"/>
                </a:cubicBezTo>
                <a:lnTo>
                  <a:pt x="0" y="232625"/>
                </a:lnTo>
                <a:cubicBezTo>
                  <a:pt x="0" y="209488"/>
                  <a:pt x="18829" y="190684"/>
                  <a:pt x="41995" y="190684"/>
                </a:cubicBezTo>
                <a:lnTo>
                  <a:pt x="55958" y="190684"/>
                </a:lnTo>
                <a:cubicBezTo>
                  <a:pt x="59449" y="179486"/>
                  <a:pt x="63997" y="168710"/>
                  <a:pt x="69286" y="158252"/>
                </a:cubicBezTo>
                <a:lnTo>
                  <a:pt x="59554" y="148533"/>
                </a:lnTo>
                <a:cubicBezTo>
                  <a:pt x="43158" y="132158"/>
                  <a:pt x="43158" y="105536"/>
                  <a:pt x="59554" y="89162"/>
                </a:cubicBezTo>
                <a:lnTo>
                  <a:pt x="89173" y="59476"/>
                </a:lnTo>
                <a:cubicBezTo>
                  <a:pt x="97107" y="51553"/>
                  <a:pt x="107685" y="47222"/>
                  <a:pt x="118897" y="47222"/>
                </a:cubicBezTo>
                <a:cubicBezTo>
                  <a:pt x="130110" y="47222"/>
                  <a:pt x="140688" y="51553"/>
                  <a:pt x="148622" y="59476"/>
                </a:cubicBezTo>
                <a:lnTo>
                  <a:pt x="158459" y="69301"/>
                </a:lnTo>
                <a:cubicBezTo>
                  <a:pt x="168826" y="63913"/>
                  <a:pt x="179721" y="59371"/>
                  <a:pt x="190828" y="55885"/>
                </a:cubicBezTo>
                <a:lnTo>
                  <a:pt x="190828" y="42045"/>
                </a:lnTo>
                <a:cubicBezTo>
                  <a:pt x="190828" y="18910"/>
                  <a:pt x="209657" y="0"/>
                  <a:pt x="232929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BC1903A8-836E-43AF-8DBB-5E27C3EC8989}"/>
              </a:ext>
            </a:extLst>
          </p:cNvPr>
          <p:cNvSpPr/>
          <p:nvPr/>
        </p:nvSpPr>
        <p:spPr bwMode="auto">
          <a:xfrm>
            <a:off x="1556684" y="5099735"/>
            <a:ext cx="2705263" cy="58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</a:t>
            </a: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D22DCBDA-05A1-4101-A677-A3B216661CAB}"/>
              </a:ext>
            </a:extLst>
          </p:cNvPr>
          <p:cNvSpPr txBox="1"/>
          <p:nvPr/>
        </p:nvSpPr>
        <p:spPr bwMode="auto">
          <a:xfrm>
            <a:off x="1556684" y="4657929"/>
            <a:ext cx="27052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0C3FB70C-7757-4B9F-B78F-A92655C623E4}"/>
              </a:ext>
            </a:extLst>
          </p:cNvPr>
          <p:cNvSpPr/>
          <p:nvPr/>
        </p:nvSpPr>
        <p:spPr bwMode="auto">
          <a:xfrm>
            <a:off x="7930052" y="5099735"/>
            <a:ext cx="2705263" cy="58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</a:t>
            </a: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AD3A625-9C01-43DF-ABCC-90272157DE76}"/>
              </a:ext>
            </a:extLst>
          </p:cNvPr>
          <p:cNvSpPr txBox="1"/>
          <p:nvPr/>
        </p:nvSpPr>
        <p:spPr bwMode="auto">
          <a:xfrm>
            <a:off x="7930052" y="4657929"/>
            <a:ext cx="27052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D04839E-5AA6-43A1-ABFC-5338635E596A}"/>
              </a:ext>
            </a:extLst>
          </p:cNvPr>
          <p:cNvSpPr/>
          <p:nvPr/>
        </p:nvSpPr>
        <p:spPr bwMode="auto">
          <a:xfrm>
            <a:off x="4746019" y="5575125"/>
            <a:ext cx="2705263" cy="58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</a:t>
            </a: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F14F1A1C-D430-4041-872B-973985D74C63}"/>
              </a:ext>
            </a:extLst>
          </p:cNvPr>
          <p:cNvSpPr txBox="1"/>
          <p:nvPr/>
        </p:nvSpPr>
        <p:spPr bwMode="auto">
          <a:xfrm>
            <a:off x="4746019" y="5133319"/>
            <a:ext cx="27052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8BF4E04E-CB2E-47FE-BE7F-FBC836E2832D}"/>
              </a:ext>
            </a:extLst>
          </p:cNvPr>
          <p:cNvSpPr/>
          <p:nvPr/>
        </p:nvSpPr>
        <p:spPr bwMode="auto">
          <a:xfrm>
            <a:off x="2626132" y="1572106"/>
            <a:ext cx="2705263" cy="58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</a:t>
            </a: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A2346076-D9EF-4CAB-96FD-DC7AFB7E5D17}"/>
              </a:ext>
            </a:extLst>
          </p:cNvPr>
          <p:cNvSpPr txBox="1"/>
          <p:nvPr/>
        </p:nvSpPr>
        <p:spPr bwMode="auto">
          <a:xfrm>
            <a:off x="2626132" y="1130300"/>
            <a:ext cx="27052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E556352-65F4-47B2-BB75-8B6B392DDE27}"/>
              </a:ext>
            </a:extLst>
          </p:cNvPr>
          <p:cNvSpPr/>
          <p:nvPr/>
        </p:nvSpPr>
        <p:spPr bwMode="auto">
          <a:xfrm>
            <a:off x="6865907" y="1572106"/>
            <a:ext cx="2705263" cy="583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100">
                <a:cs typeface="+mn-ea"/>
                <a:sym typeface="+mn-lt"/>
              </a:rPr>
              <a:t>retain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</a:t>
            </a:r>
            <a:r>
              <a:rPr lang="en-US" altLang="zh-CN" sz="1100" dirty="0">
                <a:cs typeface="+mn-ea"/>
                <a:sym typeface="+mn-lt"/>
              </a:rPr>
              <a:t>.……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06C1DA43-F326-46DE-8EDB-99451F5C2F16}"/>
              </a:ext>
            </a:extLst>
          </p:cNvPr>
          <p:cNvSpPr txBox="1"/>
          <p:nvPr/>
        </p:nvSpPr>
        <p:spPr bwMode="auto">
          <a:xfrm>
            <a:off x="6865907" y="1130300"/>
            <a:ext cx="2705263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he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re</a:t>
            </a:r>
            <a:endParaRPr lang="en-US" altLang="zh-CN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6188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404958" y="2972441"/>
            <a:ext cx="4765674" cy="895350"/>
          </a:xfrm>
        </p:spPr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病例的发现与报告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406074" y="3867791"/>
            <a:ext cx="4765674" cy="1015623"/>
          </a:xfrm>
        </p:spPr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511669" y="2347490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</a:t>
            </a:r>
            <a:r>
              <a:rPr lang="en-US" altLang="zh-CN" sz="100" spc="100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629524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2b501121-fdbd-4512-8b3d-75e3f4ebebcf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4CA93"/>
      </a:accent1>
      <a:accent2>
        <a:srgbClr val="6763F1"/>
      </a:accent2>
      <a:accent3>
        <a:srgbClr val="0F9DE6"/>
      </a:accent3>
      <a:accent4>
        <a:srgbClr val="FDBB4A"/>
      </a:accent4>
      <a:accent5>
        <a:srgbClr val="FD7978"/>
      </a:accent5>
      <a:accent6>
        <a:srgbClr val="80C96C"/>
      </a:accent6>
      <a:hlink>
        <a:srgbClr val="04CA93"/>
      </a:hlink>
      <a:folHlink>
        <a:srgbClr val="BFBFBF"/>
      </a:folHlink>
    </a:clrScheme>
    <a:fontScheme name="hgcz0e1k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4CA93"/>
    </a:accent1>
    <a:accent2>
      <a:srgbClr val="6763F1"/>
    </a:accent2>
    <a:accent3>
      <a:srgbClr val="0F9DE6"/>
    </a:accent3>
    <a:accent4>
      <a:srgbClr val="FDBB4A"/>
    </a:accent4>
    <a:accent5>
      <a:srgbClr val="FD7978"/>
    </a:accent5>
    <a:accent6>
      <a:srgbClr val="80C96C"/>
    </a:accent6>
    <a:hlink>
      <a:srgbClr val="04CA93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4CA93"/>
    </a:accent1>
    <a:accent2>
      <a:srgbClr val="6763F1"/>
    </a:accent2>
    <a:accent3>
      <a:srgbClr val="0F9DE6"/>
    </a:accent3>
    <a:accent4>
      <a:srgbClr val="FDBB4A"/>
    </a:accent4>
    <a:accent5>
      <a:srgbClr val="FD7978"/>
    </a:accent5>
    <a:accent6>
      <a:srgbClr val="80C96C"/>
    </a:accent6>
    <a:hlink>
      <a:srgbClr val="04CA93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04CA93"/>
    </a:accent1>
    <a:accent2>
      <a:srgbClr val="6763F1"/>
    </a:accent2>
    <a:accent3>
      <a:srgbClr val="0F9DE6"/>
    </a:accent3>
    <a:accent4>
      <a:srgbClr val="FDBB4A"/>
    </a:accent4>
    <a:accent5>
      <a:srgbClr val="FD7978"/>
    </a:accent5>
    <a:accent6>
      <a:srgbClr val="80C96C"/>
    </a:accent6>
    <a:hlink>
      <a:srgbClr val="04CA93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4</TotalTime>
  <Words>911</Words>
  <Application>Microsoft Office PowerPoint</Application>
  <PresentationFormat>宽屏</PresentationFormat>
  <Paragraphs>178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4" baseType="lpstr">
      <vt:lpstr>等线</vt:lpstr>
      <vt:lpstr>Arial</vt:lpstr>
      <vt:lpstr>Calibri</vt:lpstr>
      <vt:lpstr>主题5</vt:lpstr>
      <vt:lpstr>think-cell Slide</vt:lpstr>
      <vt:lpstr>诊疗方案 新型冠状病毒感染病例</vt:lpstr>
      <vt:lpstr>PowerPoint 演示文稿</vt:lpstr>
      <vt:lpstr>病学原</vt:lpstr>
      <vt:lpstr>病学原</vt:lpstr>
      <vt:lpstr>此次疫情的临床特点</vt:lpstr>
      <vt:lpstr>此次疫情的临床特点</vt:lpstr>
      <vt:lpstr>病例定义</vt:lpstr>
      <vt:lpstr>病例定义</vt:lpstr>
      <vt:lpstr>病例的发现与报告</vt:lpstr>
      <vt:lpstr>病例的发现与报告</vt:lpstr>
      <vt:lpstr>鉴别诊断</vt:lpstr>
      <vt:lpstr>鉴别诊断</vt:lpstr>
      <vt:lpstr>治疗</vt:lpstr>
      <vt:lpstr>治疗</vt:lpstr>
      <vt:lpstr>转运原则</vt:lpstr>
      <vt:lpstr>转运原则</vt:lpstr>
      <vt:lpstr>出院标准</vt:lpstr>
      <vt:lpstr>出院标准</vt:lpstr>
      <vt:lpstr>Thanks And Your 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20-02-12T16:00:00Z</cp:lastPrinted>
  <dcterms:created xsi:type="dcterms:W3CDTF">2020-02-12T16:00:00Z</dcterms:created>
  <dcterms:modified xsi:type="dcterms:W3CDTF">2022-09-08T08:28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